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3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4.bin" ContentType="application/vnd.openxmlformats-officedocument.oleObject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1"/>
  </p:notesMasterIdLst>
  <p:handoutMasterIdLst>
    <p:handoutMasterId r:id="rId52"/>
  </p:handoutMasterIdLst>
  <p:sldIdLst>
    <p:sldId id="258" r:id="rId2"/>
    <p:sldId id="316" r:id="rId3"/>
    <p:sldId id="337" r:id="rId4"/>
    <p:sldId id="275" r:id="rId5"/>
    <p:sldId id="300" r:id="rId6"/>
    <p:sldId id="342" r:id="rId7"/>
    <p:sldId id="301" r:id="rId8"/>
    <p:sldId id="341" r:id="rId9"/>
    <p:sldId id="343" r:id="rId10"/>
    <p:sldId id="319" r:id="rId11"/>
    <p:sldId id="355" r:id="rId12"/>
    <p:sldId id="348" r:id="rId13"/>
    <p:sldId id="349" r:id="rId14"/>
    <p:sldId id="351" r:id="rId15"/>
    <p:sldId id="350" r:id="rId16"/>
    <p:sldId id="352" r:id="rId17"/>
    <p:sldId id="353" r:id="rId18"/>
    <p:sldId id="357" r:id="rId19"/>
    <p:sldId id="356" r:id="rId20"/>
    <p:sldId id="358" r:id="rId21"/>
    <p:sldId id="354" r:id="rId22"/>
    <p:sldId id="344" r:id="rId23"/>
    <p:sldId id="321" r:id="rId24"/>
    <p:sldId id="322" r:id="rId25"/>
    <p:sldId id="345" r:id="rId26"/>
    <p:sldId id="320" r:id="rId27"/>
    <p:sldId id="323" r:id="rId28"/>
    <p:sldId id="324" r:id="rId29"/>
    <p:sldId id="325" r:id="rId30"/>
    <p:sldId id="347" r:id="rId31"/>
    <p:sldId id="338" r:id="rId32"/>
    <p:sldId id="326" r:id="rId33"/>
    <p:sldId id="327" r:id="rId34"/>
    <p:sldId id="328" r:id="rId35"/>
    <p:sldId id="339" r:id="rId36"/>
    <p:sldId id="329" r:id="rId37"/>
    <p:sldId id="330" r:id="rId38"/>
    <p:sldId id="331" r:id="rId39"/>
    <p:sldId id="346" r:id="rId40"/>
    <p:sldId id="340" r:id="rId41"/>
    <p:sldId id="332" r:id="rId42"/>
    <p:sldId id="333" r:id="rId43"/>
    <p:sldId id="360" r:id="rId44"/>
    <p:sldId id="359" r:id="rId45"/>
    <p:sldId id="361" r:id="rId46"/>
    <p:sldId id="362" r:id="rId47"/>
    <p:sldId id="334" r:id="rId48"/>
    <p:sldId id="335" r:id="rId49"/>
    <p:sldId id="336" r:id="rId50"/>
  </p:sldIdLst>
  <p:sldSz cx="9144000" cy="6858000" type="screen4x3"/>
  <p:notesSz cx="6858000" cy="9144000"/>
  <p:custDataLst>
    <p:tags r:id="rId5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85" autoAdjust="0"/>
    <p:restoredTop sz="96407" autoAdjust="0"/>
  </p:normalViewPr>
  <p:slideViewPr>
    <p:cSldViewPr showGuides="1">
      <p:cViewPr varScale="1">
        <p:scale>
          <a:sx n="114" d="100"/>
          <a:sy n="114" d="100"/>
        </p:scale>
        <p:origin x="-840" y="-104"/>
      </p:cViewPr>
      <p:guideLst>
        <p:guide orient="horz" pos="3884"/>
        <p:guide orient="horz" pos="391"/>
        <p:guide orient="horz" pos="4110"/>
        <p:guide orient="horz" pos="436"/>
        <p:guide orient="horz" pos="663"/>
        <p:guide orient="horz" pos="164"/>
        <p:guide pos="5602"/>
        <p:guide pos="4604"/>
        <p:guide pos="158"/>
        <p:guide pos="4468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652" y="750"/>
      </p:cViewPr>
      <p:guideLst>
        <p:guide orient="horz" pos="2744"/>
        <p:guide pos="164"/>
        <p:guide pos="4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slide" Target="slides/slide49.xml"/><Relationship Id="rId51" Type="http://schemas.openxmlformats.org/officeDocument/2006/relationships/notesMaster" Target="notesMasters/notesMaster1.xml"/><Relationship Id="rId52" Type="http://schemas.openxmlformats.org/officeDocument/2006/relationships/handoutMaster" Target="handoutMasters/handoutMaster1.xml"/><Relationship Id="rId53" Type="http://schemas.openxmlformats.org/officeDocument/2006/relationships/printerSettings" Target="printerSettings/printerSettings1.bin"/><Relationship Id="rId54" Type="http://schemas.openxmlformats.org/officeDocument/2006/relationships/tags" Target="tags/tag1.xml"/><Relationship Id="rId55" Type="http://schemas.openxmlformats.org/officeDocument/2006/relationships/presProps" Target="presProps.xml"/><Relationship Id="rId56" Type="http://schemas.openxmlformats.org/officeDocument/2006/relationships/viewProps" Target="viewProps.xml"/><Relationship Id="rId57" Type="http://schemas.openxmlformats.org/officeDocument/2006/relationships/theme" Target="theme/theme1.xml"/><Relationship Id="rId58" Type="http://schemas.openxmlformats.org/officeDocument/2006/relationships/tableStyles" Target="tableStyle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Tabelle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-Tabelle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de-DE" dirty="0" err="1" smtClean="0"/>
              <a:t>Entity</a:t>
            </a:r>
            <a:r>
              <a:rPr lang="de-DE" dirty="0" smtClean="0"/>
              <a:t> -&gt;</a:t>
            </a:r>
            <a:r>
              <a:rPr lang="de-DE" baseline="0" dirty="0" smtClean="0"/>
              <a:t> DTO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3100.0</c:v>
                </c:pt>
                <c:pt idx="1">
                  <c:v>491.0</c:v>
                </c:pt>
                <c:pt idx="2">
                  <c:v>250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8613.0</c:v>
                </c:pt>
                <c:pt idx="1">
                  <c:v>4975.0</c:v>
                </c:pt>
                <c:pt idx="2">
                  <c:v>1473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96908.0</c:v>
                </c:pt>
                <c:pt idx="1">
                  <c:v>30755.0</c:v>
                </c:pt>
                <c:pt idx="2">
                  <c:v>13813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946877.0</c:v>
                </c:pt>
                <c:pt idx="1">
                  <c:v>317625.0</c:v>
                </c:pt>
                <c:pt idx="2">
                  <c:v>167818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949467096"/>
        <c:axId val="-1949468808"/>
      </c:lineChart>
      <c:catAx>
        <c:axId val="-1949467096"/>
        <c:scaling>
          <c:orientation val="minMax"/>
        </c:scaling>
        <c:delete val="0"/>
        <c:axPos val="b"/>
        <c:majorTickMark val="none"/>
        <c:minorTickMark val="none"/>
        <c:tickLblPos val="nextTo"/>
        <c:crossAx val="-1949468808"/>
        <c:crosses val="autoZero"/>
        <c:auto val="1"/>
        <c:lblAlgn val="ctr"/>
        <c:lblOffset val="100"/>
        <c:noMultiLvlLbl val="0"/>
      </c:catAx>
      <c:valAx>
        <c:axId val="-1949468808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-194946709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de-DE" dirty="0" smtClean="0"/>
              <a:t>DTO -</a:t>
            </a:r>
            <a:r>
              <a:rPr lang="de-DE" dirty="0" smtClean="0"/>
              <a:t>&gt;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tity</a:t>
            </a:r>
            <a:endParaRPr lang="de-DE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Blatt1!$A$2</c:f>
              <c:strCache>
                <c:ptCount val="1"/>
                <c:pt idx="0">
                  <c:v>Handwritten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2:$D$2</c:f>
              <c:numCache>
                <c:formatCode>General</c:formatCode>
                <c:ptCount val="3"/>
                <c:pt idx="0">
                  <c:v>14780.0</c:v>
                </c:pt>
                <c:pt idx="1">
                  <c:v>3522.0</c:v>
                </c:pt>
                <c:pt idx="2">
                  <c:v>1295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Blatt1!$A$3</c:f>
              <c:strCache>
                <c:ptCount val="1"/>
                <c:pt idx="0">
                  <c:v>Orika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3:$D$3</c:f>
              <c:numCache>
                <c:formatCode>General</c:formatCode>
                <c:ptCount val="3"/>
                <c:pt idx="0">
                  <c:v>26514.0</c:v>
                </c:pt>
                <c:pt idx="1">
                  <c:v>7675.0</c:v>
                </c:pt>
                <c:pt idx="2">
                  <c:v>2407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Blatt1!$A$4</c:f>
              <c:strCache>
                <c:ptCount val="1"/>
                <c:pt idx="0">
                  <c:v>Modelmapp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4:$D$4</c:f>
              <c:numCache>
                <c:formatCode>General</c:formatCode>
                <c:ptCount val="3"/>
                <c:pt idx="0">
                  <c:v>37753.0</c:v>
                </c:pt>
                <c:pt idx="1">
                  <c:v>20322.0</c:v>
                </c:pt>
                <c:pt idx="2">
                  <c:v>7104.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Blatt1!$A$5</c:f>
              <c:strCache>
                <c:ptCount val="1"/>
                <c:pt idx="0">
                  <c:v>Dozer</c:v>
                </c:pt>
              </c:strCache>
            </c:strRef>
          </c:tx>
          <c:marker>
            <c:symbol val="none"/>
          </c:marker>
          <c:cat>
            <c:strRef>
              <c:f>Blatt1!$B$1:$D$1</c:f>
              <c:strCache>
                <c:ptCount val="3"/>
                <c:pt idx="0">
                  <c:v>1.000 Obj.</c:v>
                </c:pt>
                <c:pt idx="1">
                  <c:v>10.000 Obj.</c:v>
                </c:pt>
                <c:pt idx="2">
                  <c:v>100.000 Obj.</c:v>
                </c:pt>
              </c:strCache>
            </c:strRef>
          </c:cat>
          <c:val>
            <c:numRef>
              <c:f>Blatt1!$B$5:$D$5</c:f>
              <c:numCache>
                <c:formatCode>General</c:formatCode>
                <c:ptCount val="3"/>
                <c:pt idx="0">
                  <c:v>569694.0</c:v>
                </c:pt>
                <c:pt idx="1">
                  <c:v>266036.0</c:v>
                </c:pt>
                <c:pt idx="2">
                  <c:v>207261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952971880"/>
        <c:axId val="-1949635480"/>
      </c:lineChart>
      <c:catAx>
        <c:axId val="-1952971880"/>
        <c:scaling>
          <c:orientation val="minMax"/>
        </c:scaling>
        <c:delete val="0"/>
        <c:axPos val="b"/>
        <c:majorTickMark val="none"/>
        <c:minorTickMark val="none"/>
        <c:tickLblPos val="nextTo"/>
        <c:crossAx val="-1949635480"/>
        <c:crosses val="autoZero"/>
        <c:auto val="1"/>
        <c:lblAlgn val="ctr"/>
        <c:lblOffset val="100"/>
        <c:noMultiLvlLbl val="0"/>
      </c:catAx>
      <c:valAx>
        <c:axId val="-1949635480"/>
        <c:scaling>
          <c:logBase val="10.0"/>
          <c:orientation val="minMax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de-DE" dirty="0" smtClean="0"/>
                  <a:t>Zeit in </a:t>
                </a:r>
                <a:r>
                  <a:rPr lang="de-DE" dirty="0" err="1" smtClean="0"/>
                  <a:t>ns</a:t>
                </a:r>
                <a:r>
                  <a:rPr lang="de-DE" baseline="0" dirty="0" smtClean="0"/>
                  <a:t>/Objekt</a:t>
                </a:r>
                <a:endParaRPr lang="de-DE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-1952971880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3EB2F0A-461E-5345-AE4D-ACA4DA3D2AC7}" type="presOf" srcId="{9EB1846C-ABB5-9E44-B030-7BE73C498E59}" destId="{60914178-E972-6747-98A5-9B1042D21399}" srcOrd="0" destOrd="0" presId="urn:microsoft.com/office/officeart/2008/layout/HorizontalMultiLevelHierarchy"/>
    <dgm:cxn modelId="{E3CE468F-86A8-6043-B055-E2FBF62D12B2}" type="presOf" srcId="{5E2A7D5A-EFB6-9C4F-A960-3D6903C39497}" destId="{E59B7B1E-3287-FB43-A405-2A84667315EC}" srcOrd="1" destOrd="0" presId="urn:microsoft.com/office/officeart/2008/layout/HorizontalMultiLevelHierarchy"/>
    <dgm:cxn modelId="{0FDF2A08-2B10-734F-8B10-4E78626E9348}" type="presOf" srcId="{B64CCDD1-81AB-5245-B99A-E87DB05674D4}" destId="{3C43B809-8F2F-3641-8339-1043D47661D7}" srcOrd="0" destOrd="0" presId="urn:microsoft.com/office/officeart/2008/layout/HorizontalMultiLevelHierarchy"/>
    <dgm:cxn modelId="{D75C01B0-9A36-6F4B-8DCD-7AEF2E0ED990}" type="presOf" srcId="{7E0C02E8-17C2-874D-B6DE-8E3A1D3437C9}" destId="{448042B3-2CED-424C-815C-8FD3B3AD8A3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FDE91EC6-6BF3-6847-A37B-5BA8886C759E}" type="presOf" srcId="{C24B2AD7-9651-4B45-A8F4-0314EA8D4874}" destId="{8AD8F429-D3CB-F748-A62E-81D3E0DD1FE1}" srcOrd="0" destOrd="0" presId="urn:microsoft.com/office/officeart/2008/layout/HorizontalMultiLevelHierarchy"/>
    <dgm:cxn modelId="{BD27036D-53DD-084A-A661-BDA58D386C1B}" type="presOf" srcId="{E543121D-95F7-3E47-B964-B7B948211EBC}" destId="{2C1F9B08-4495-8146-8974-2654E99B2E9A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A7E746B7-0E25-5041-ACE2-02EE158373CA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34E9392A-ABD6-234E-8613-2CE13ADB7ACF}" type="presOf" srcId="{E543121D-95F7-3E47-B964-B7B948211EBC}" destId="{C9D429FE-9539-9D4A-9750-F9C781598EC4}" srcOrd="1" destOrd="0" presId="urn:microsoft.com/office/officeart/2008/layout/HorizontalMultiLevelHierarchy"/>
    <dgm:cxn modelId="{73CBEA00-5351-2747-B56F-72BF0E207FB1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938279B-E4E4-874A-925E-81A5F858FDB3}" type="presOf" srcId="{08733529-A5F0-F14D-8E75-74214329B040}" destId="{A635BF91-C219-EB46-A0CA-F8A2CE3D7BF3}" srcOrd="1" destOrd="0" presId="urn:microsoft.com/office/officeart/2008/layout/HorizontalMultiLevelHierarchy"/>
    <dgm:cxn modelId="{3BFA558F-CC2F-C64F-ACC1-C03190EDFF3D}" type="presOf" srcId="{63D1AE09-4F57-A443-A1FD-2A3034962097}" destId="{04D949B2-6FA5-4948-B335-DDA85E4E65B1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CB13B33C-DB95-4042-BA85-FC15B3B0AD21}" type="presOf" srcId="{990267CF-EA89-A240-9514-9AFC12BBADEE}" destId="{03DEAF18-EC72-C047-A9B4-C65BE189F02C}" srcOrd="0" destOrd="0" presId="urn:microsoft.com/office/officeart/2008/layout/HorizontalMultiLevelHierarchy"/>
    <dgm:cxn modelId="{2E810365-CEF3-C54D-B881-200E7F2F890A}" type="presOf" srcId="{436C1B23-A07F-9344-ADAB-98173723FB7F}" destId="{0637CC4E-4D30-724B-9FFD-C7AED88FB068}" srcOrd="1" destOrd="0" presId="urn:microsoft.com/office/officeart/2008/layout/HorizontalMultiLevelHierarchy"/>
    <dgm:cxn modelId="{6A02E0C6-76DE-364D-8BFC-B30168A6203C}" type="presOf" srcId="{08733529-A5F0-F14D-8E75-74214329B040}" destId="{393A7F55-569D-7A48-ACE0-063418018375}" srcOrd="0" destOrd="0" presId="urn:microsoft.com/office/officeart/2008/layout/HorizontalMultiLevelHierarchy"/>
    <dgm:cxn modelId="{5A6D994E-021C-7949-96CE-F49BBDB3EAF3}" type="presOf" srcId="{6577C284-4D20-2C4A-88D4-29EB6FEAC9C2}" destId="{A3F719CD-4C36-CF49-B90F-B8B40A2B29D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E27202E-AD5E-B34B-851A-331DE5EA2383}" type="presOf" srcId="{78A64519-4827-364C-A275-D5C68A949ADD}" destId="{33CE7315-72E8-4545-9EC6-56F4D0BEC64D}" srcOrd="0" destOrd="0" presId="urn:microsoft.com/office/officeart/2008/layout/HorizontalMultiLevelHierarchy"/>
    <dgm:cxn modelId="{F334A776-C7FA-E04A-85D4-433DE03F4392}" type="presOf" srcId="{BBD19103-9913-2A49-AB85-F021773D5328}" destId="{64F502CF-3E90-0B4E-886C-91AB3F51938D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D2390073-4399-7D44-B127-1753C03468DB}" type="presOf" srcId="{C0976C3D-B466-7D45-ABFB-2E3685B2F19C}" destId="{D35EA19E-870C-2F44-A620-E6B51FB20589}" srcOrd="0" destOrd="0" presId="urn:microsoft.com/office/officeart/2008/layout/HorizontalMultiLevelHierarchy"/>
    <dgm:cxn modelId="{7E464415-6C87-3A43-92D8-401B68F71FA1}" type="presOf" srcId="{174F7A28-653D-6F45-9860-935E35504EE1}" destId="{4D444EFA-484D-8B49-B53F-73AE5DAC83CB}" srcOrd="0" destOrd="0" presId="urn:microsoft.com/office/officeart/2008/layout/HorizontalMultiLevelHierarchy"/>
    <dgm:cxn modelId="{6A64B597-D8C7-3949-A55D-7F01F70218D5}" type="presOf" srcId="{8BC59F7D-94BF-3B43-BF5D-5485F4809DAD}" destId="{6D977B4C-E88D-6044-A647-A6CC29747BE1}" srcOrd="0" destOrd="0" presId="urn:microsoft.com/office/officeart/2008/layout/HorizontalMultiLevelHierarchy"/>
    <dgm:cxn modelId="{65794BDC-E0A0-DD4F-9AC0-6A9780F48BFC}" type="presOf" srcId="{C24B2AD7-9651-4B45-A8F4-0314EA8D4874}" destId="{27DD3461-0240-774A-8774-CC1A00541B61}" srcOrd="1" destOrd="0" presId="urn:microsoft.com/office/officeart/2008/layout/HorizontalMultiLevelHierarchy"/>
    <dgm:cxn modelId="{BCF54213-41DC-7145-B434-6C5B7023403A}" type="presOf" srcId="{0726F871-37F4-AB40-AF73-6656D7E9C85D}" destId="{613226CB-11A4-C549-82A6-64B9BCFE1002}" srcOrd="0" destOrd="0" presId="urn:microsoft.com/office/officeart/2008/layout/HorizontalMultiLevelHierarchy"/>
    <dgm:cxn modelId="{F967EF8A-142F-DC4E-9C5E-02F9A977DF2B}" type="presOf" srcId="{436C1B23-A07F-9344-ADAB-98173723FB7F}" destId="{B541F6A1-B2AA-7447-8E11-AC7AA5D5D50B}" srcOrd="0" destOrd="0" presId="urn:microsoft.com/office/officeart/2008/layout/HorizontalMultiLevelHierarchy"/>
    <dgm:cxn modelId="{FA2DD5D1-B8FC-4149-92EB-9EF17BF30BF1}" type="presOf" srcId="{EF2BFDE9-4D1F-3049-B62C-65BE59459C50}" destId="{5167760A-1265-4C43-B02A-4A72B3B39F5E}" srcOrd="0" destOrd="0" presId="urn:microsoft.com/office/officeart/2008/layout/HorizontalMultiLevelHierarchy"/>
    <dgm:cxn modelId="{66E4B765-9FC7-9740-94CF-3812EF1D5167}" type="presOf" srcId="{75291F63-6D2A-BA4D-9808-5F545EE4CCF0}" destId="{9FB8B136-71A7-D34F-B7EB-BD8FC5C96ECE}" srcOrd="0" destOrd="0" presId="urn:microsoft.com/office/officeart/2008/layout/HorizontalMultiLevelHierarchy"/>
    <dgm:cxn modelId="{CB6A0C73-9C6A-4646-A4A1-0C8218826511}" type="presOf" srcId="{859769CA-042B-6244-840F-75AE1403619A}" destId="{4E546A01-1907-BB4F-B534-4E81DE6081F4}" srcOrd="0" destOrd="0" presId="urn:microsoft.com/office/officeart/2008/layout/HorizontalMultiLevelHierarchy"/>
    <dgm:cxn modelId="{512AB996-CDE7-CF42-85A1-62AD8BC6C7CF}" type="presOf" srcId="{8BC59F7D-94BF-3B43-BF5D-5485F4809DAD}" destId="{756F0DD8-11FC-8647-8FC8-7AAB634C5717}" srcOrd="1" destOrd="0" presId="urn:microsoft.com/office/officeart/2008/layout/HorizontalMultiLevelHierarchy"/>
    <dgm:cxn modelId="{0D9ABD2E-1DE3-0C4E-944F-FC266A49FFE2}" type="presOf" srcId="{5ADEDBF8-717E-F946-B11E-4CC50D9988C8}" destId="{AB33012A-8C54-6245-96E8-E0111C081E33}" srcOrd="1" destOrd="0" presId="urn:microsoft.com/office/officeart/2008/layout/HorizontalMultiLevelHierarchy"/>
    <dgm:cxn modelId="{275CF9BF-2429-7C45-9D24-3890B9A7C240}" type="presOf" srcId="{5ADEDBF8-717E-F946-B11E-4CC50D9988C8}" destId="{D778007E-9974-2C41-910F-E1E5562B090A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B39DB3D5-E700-454C-A0CB-38BFD9A1F681}" type="presOf" srcId="{134C8002-4160-B046-917F-B9172D6D011E}" destId="{569810E7-365A-FB48-A979-23DA3465EF4F}" srcOrd="1" destOrd="0" presId="urn:microsoft.com/office/officeart/2008/layout/HorizontalMultiLevelHierarchy"/>
    <dgm:cxn modelId="{18618D1D-C44E-FA46-94F6-F333C9279370}" type="presOf" srcId="{5E2A7D5A-EFB6-9C4F-A960-3D6903C39497}" destId="{1442578F-E924-E34F-9FA5-3F4C2CF65BC9}" srcOrd="0" destOrd="0" presId="urn:microsoft.com/office/officeart/2008/layout/HorizontalMultiLevelHierarchy"/>
    <dgm:cxn modelId="{9CEF0822-CF3D-1242-86A1-23395192EE62}" type="presOf" srcId="{134C8002-4160-B046-917F-B9172D6D011E}" destId="{33DDFCA5-CC66-CC45-A430-EDF4DA53BA93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8617458-9063-E249-A5B6-03CB851F419F}" type="presOf" srcId="{6577C284-4D20-2C4A-88D4-29EB6FEAC9C2}" destId="{348A166D-A55E-9147-99A1-FB87A4CF61A8}" srcOrd="1" destOrd="0" presId="urn:microsoft.com/office/officeart/2008/layout/HorizontalMultiLevelHierarchy"/>
    <dgm:cxn modelId="{01D4EB32-7246-0A4A-AB47-D12CEA97B1FB}" type="presOf" srcId="{9EB1846C-ABB5-9E44-B030-7BE73C498E59}" destId="{03FF4E40-A0E8-E040-A52F-D68379DCC349}" srcOrd="1" destOrd="0" presId="urn:microsoft.com/office/officeart/2008/layout/HorizontalMultiLevelHierarchy"/>
    <dgm:cxn modelId="{6553AED3-EE9A-074D-A597-B4E4E513498B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923DF1E8-61E5-E74D-A7C4-D0CC45E384BB}" type="presOf" srcId="{63D1AE09-4F57-A443-A1FD-2A3034962097}" destId="{B7A5E06F-5B4B-C947-BFA6-C1FA5998CE54}" srcOrd="0" destOrd="0" presId="urn:microsoft.com/office/officeart/2008/layout/HorizontalMultiLevelHierarchy"/>
    <dgm:cxn modelId="{646882AB-BBBE-1F4F-888D-5402E19EB0F5}" type="presOf" srcId="{488E1B12-EE7C-9246-8169-00D4E05307C4}" destId="{5E781A07-1968-A143-88EC-827822313B55}" srcOrd="0" destOrd="0" presId="urn:microsoft.com/office/officeart/2008/layout/HorizontalMultiLevelHierarchy"/>
    <dgm:cxn modelId="{368D2D6F-3859-2C43-AD3B-5276E5E97DC4}" type="presOf" srcId="{B8771036-12B2-D843-AA17-BB631BA3F87D}" destId="{F9B786D6-8B73-AC47-BEA7-3780A17C3E39}" srcOrd="0" destOrd="0" presId="urn:microsoft.com/office/officeart/2008/layout/HorizontalMultiLevelHierarchy"/>
    <dgm:cxn modelId="{63F4BB0A-AE88-0F42-BDDE-CFD3477FAF6C}" type="presParOf" srcId="{613226CB-11A4-C549-82A6-64B9BCFE1002}" destId="{3BA40406-1E55-1642-A22A-B49F5A173AC8}" srcOrd="0" destOrd="0" presId="urn:microsoft.com/office/officeart/2008/layout/HorizontalMultiLevelHierarchy"/>
    <dgm:cxn modelId="{6C83BC96-0E5C-B946-AE4C-0917CE66860A}" type="presParOf" srcId="{3BA40406-1E55-1642-A22A-B49F5A173AC8}" destId="{99E936FD-8649-9640-96D2-9202E1CEC417}" srcOrd="0" destOrd="0" presId="urn:microsoft.com/office/officeart/2008/layout/HorizontalMultiLevelHierarchy"/>
    <dgm:cxn modelId="{192D609D-B751-2B4A-BFD9-8703EFF73D7F}" type="presParOf" srcId="{3BA40406-1E55-1642-A22A-B49F5A173AC8}" destId="{598DBB90-9C26-4C4B-AC1C-FF1827BF8D97}" srcOrd="1" destOrd="0" presId="urn:microsoft.com/office/officeart/2008/layout/HorizontalMultiLevelHierarchy"/>
    <dgm:cxn modelId="{22D6584B-4FD0-2E4D-9340-BDCADDAFE89D}" type="presParOf" srcId="{598DBB90-9C26-4C4B-AC1C-FF1827BF8D97}" destId="{D778007E-9974-2C41-910F-E1E5562B090A}" srcOrd="0" destOrd="0" presId="urn:microsoft.com/office/officeart/2008/layout/HorizontalMultiLevelHierarchy"/>
    <dgm:cxn modelId="{1F6C2260-72BA-3347-A426-9DC5DA09B812}" type="presParOf" srcId="{D778007E-9974-2C41-910F-E1E5562B090A}" destId="{AB33012A-8C54-6245-96E8-E0111C081E33}" srcOrd="0" destOrd="0" presId="urn:microsoft.com/office/officeart/2008/layout/HorizontalMultiLevelHierarchy"/>
    <dgm:cxn modelId="{44C19D76-B666-D94C-B68E-3606B140C9BE}" type="presParOf" srcId="{598DBB90-9C26-4C4B-AC1C-FF1827BF8D97}" destId="{BCA6FE17-8DB6-0242-A6E4-C7D3971EBD97}" srcOrd="1" destOrd="0" presId="urn:microsoft.com/office/officeart/2008/layout/HorizontalMultiLevelHierarchy"/>
    <dgm:cxn modelId="{EB95E86E-C6EC-AA44-95F9-747B2A732C6E}" type="presParOf" srcId="{BCA6FE17-8DB6-0242-A6E4-C7D3971EBD97}" destId="{5E781A07-1968-A143-88EC-827822313B55}" srcOrd="0" destOrd="0" presId="urn:microsoft.com/office/officeart/2008/layout/HorizontalMultiLevelHierarchy"/>
    <dgm:cxn modelId="{37F88BF0-65CA-9740-A20F-2206500281DD}" type="presParOf" srcId="{BCA6FE17-8DB6-0242-A6E4-C7D3971EBD97}" destId="{BDDED42C-20CE-EF4E-85AA-7830E9428B23}" srcOrd="1" destOrd="0" presId="urn:microsoft.com/office/officeart/2008/layout/HorizontalMultiLevelHierarchy"/>
    <dgm:cxn modelId="{7DFC6D86-B529-EE46-8A04-EC6135FF6046}" type="presParOf" srcId="{598DBB90-9C26-4C4B-AC1C-FF1827BF8D97}" destId="{B7A5E06F-5B4B-C947-BFA6-C1FA5998CE54}" srcOrd="2" destOrd="0" presId="urn:microsoft.com/office/officeart/2008/layout/HorizontalMultiLevelHierarchy"/>
    <dgm:cxn modelId="{5DC692B4-445F-EF4C-B7B3-8EF699751C16}" type="presParOf" srcId="{B7A5E06F-5B4B-C947-BFA6-C1FA5998CE54}" destId="{04D949B2-6FA5-4948-B335-DDA85E4E65B1}" srcOrd="0" destOrd="0" presId="urn:microsoft.com/office/officeart/2008/layout/HorizontalMultiLevelHierarchy"/>
    <dgm:cxn modelId="{C5461578-BF0F-B848-BA9C-7F9B6CF955C2}" type="presParOf" srcId="{598DBB90-9C26-4C4B-AC1C-FF1827BF8D97}" destId="{5B0B9041-BDB4-7141-9957-0BEAFB33AEFE}" srcOrd="3" destOrd="0" presId="urn:microsoft.com/office/officeart/2008/layout/HorizontalMultiLevelHierarchy"/>
    <dgm:cxn modelId="{BBDF544E-43D1-1948-9C20-1396A126027A}" type="presParOf" srcId="{5B0B9041-BDB4-7141-9957-0BEAFB33AEFE}" destId="{D35EA19E-870C-2F44-A620-E6B51FB20589}" srcOrd="0" destOrd="0" presId="urn:microsoft.com/office/officeart/2008/layout/HorizontalMultiLevelHierarchy"/>
    <dgm:cxn modelId="{B87F8467-A5CB-5348-8483-B2B095F25302}" type="presParOf" srcId="{5B0B9041-BDB4-7141-9957-0BEAFB33AEFE}" destId="{62348515-9687-1045-ADA1-3184EC8CEC61}" srcOrd="1" destOrd="0" presId="urn:microsoft.com/office/officeart/2008/layout/HorizontalMultiLevelHierarchy"/>
    <dgm:cxn modelId="{33141F14-47F0-C042-BE6F-DC193A096F07}" type="presParOf" srcId="{62348515-9687-1045-ADA1-3184EC8CEC61}" destId="{B541F6A1-B2AA-7447-8E11-AC7AA5D5D50B}" srcOrd="0" destOrd="0" presId="urn:microsoft.com/office/officeart/2008/layout/HorizontalMultiLevelHierarchy"/>
    <dgm:cxn modelId="{59F1CB3D-3595-F141-8051-20562C25A7D0}" type="presParOf" srcId="{B541F6A1-B2AA-7447-8E11-AC7AA5D5D50B}" destId="{0637CC4E-4D30-724B-9FFD-C7AED88FB068}" srcOrd="0" destOrd="0" presId="urn:microsoft.com/office/officeart/2008/layout/HorizontalMultiLevelHierarchy"/>
    <dgm:cxn modelId="{FA1A5EA4-C116-9945-AC60-18969A38B464}" type="presParOf" srcId="{62348515-9687-1045-ADA1-3184EC8CEC61}" destId="{CA3C244E-E149-0742-ACEF-44B7ECE83631}" srcOrd="1" destOrd="0" presId="urn:microsoft.com/office/officeart/2008/layout/HorizontalMultiLevelHierarchy"/>
    <dgm:cxn modelId="{37305263-047D-D04E-9760-DE1382DDB3A1}" type="presParOf" srcId="{CA3C244E-E149-0742-ACEF-44B7ECE83631}" destId="{9FB8B136-71A7-D34F-B7EB-BD8FC5C96ECE}" srcOrd="0" destOrd="0" presId="urn:microsoft.com/office/officeart/2008/layout/HorizontalMultiLevelHierarchy"/>
    <dgm:cxn modelId="{00E213A7-446C-C243-8E9E-F54E2C8EF5B9}" type="presParOf" srcId="{CA3C244E-E149-0742-ACEF-44B7ECE83631}" destId="{9B46DB51-FCC5-AC41-BECD-E28037B564D0}" srcOrd="1" destOrd="0" presId="urn:microsoft.com/office/officeart/2008/layout/HorizontalMultiLevelHierarchy"/>
    <dgm:cxn modelId="{D05BC944-ED06-E441-8575-9CD489BBB305}" type="presParOf" srcId="{62348515-9687-1045-ADA1-3184EC8CEC61}" destId="{2C1F9B08-4495-8146-8974-2654E99B2E9A}" srcOrd="2" destOrd="0" presId="urn:microsoft.com/office/officeart/2008/layout/HorizontalMultiLevelHierarchy"/>
    <dgm:cxn modelId="{36705324-1DF5-4042-8B33-3F1B5CA8E33F}" type="presParOf" srcId="{2C1F9B08-4495-8146-8974-2654E99B2E9A}" destId="{C9D429FE-9539-9D4A-9750-F9C781598EC4}" srcOrd="0" destOrd="0" presId="urn:microsoft.com/office/officeart/2008/layout/HorizontalMultiLevelHierarchy"/>
    <dgm:cxn modelId="{F9016F68-09AD-ED47-B29C-043F0EAF966F}" type="presParOf" srcId="{62348515-9687-1045-ADA1-3184EC8CEC61}" destId="{7F107BC0-209A-4C42-BEA6-B6817D5C9E09}" srcOrd="3" destOrd="0" presId="urn:microsoft.com/office/officeart/2008/layout/HorizontalMultiLevelHierarchy"/>
    <dgm:cxn modelId="{FB77D64F-FA2D-864C-9572-2501FB5684A9}" type="presParOf" srcId="{7F107BC0-209A-4C42-BEA6-B6817D5C9E09}" destId="{4E546A01-1907-BB4F-B534-4E81DE6081F4}" srcOrd="0" destOrd="0" presId="urn:microsoft.com/office/officeart/2008/layout/HorizontalMultiLevelHierarchy"/>
    <dgm:cxn modelId="{3AB8A1F4-6A52-DD4A-882E-47488D20097E}" type="presParOf" srcId="{7F107BC0-209A-4C42-BEA6-B6817D5C9E09}" destId="{F5393339-32D0-CE4B-9AAA-4B6A114FA39A}" srcOrd="1" destOrd="0" presId="urn:microsoft.com/office/officeart/2008/layout/HorizontalMultiLevelHierarchy"/>
    <dgm:cxn modelId="{72483313-BEDC-A04D-B513-D6801234BDE1}" type="presParOf" srcId="{62348515-9687-1045-ADA1-3184EC8CEC61}" destId="{6D977B4C-E88D-6044-A647-A6CC29747BE1}" srcOrd="4" destOrd="0" presId="urn:microsoft.com/office/officeart/2008/layout/HorizontalMultiLevelHierarchy"/>
    <dgm:cxn modelId="{F32116E0-0789-164B-A1AA-5468A2A2FA8A}" type="presParOf" srcId="{6D977B4C-E88D-6044-A647-A6CC29747BE1}" destId="{756F0DD8-11FC-8647-8FC8-7AAB634C5717}" srcOrd="0" destOrd="0" presId="urn:microsoft.com/office/officeart/2008/layout/HorizontalMultiLevelHierarchy"/>
    <dgm:cxn modelId="{3ED89179-789E-1C40-9A57-28910807A057}" type="presParOf" srcId="{62348515-9687-1045-ADA1-3184EC8CEC61}" destId="{BAA197B9-40F5-1D46-A384-973DDEA5160C}" srcOrd="5" destOrd="0" presId="urn:microsoft.com/office/officeart/2008/layout/HorizontalMultiLevelHierarchy"/>
    <dgm:cxn modelId="{536E9BF1-323C-D14F-A135-76675E93CCD5}" type="presParOf" srcId="{BAA197B9-40F5-1D46-A384-973DDEA5160C}" destId="{3C43B809-8F2F-3641-8339-1043D47661D7}" srcOrd="0" destOrd="0" presId="urn:microsoft.com/office/officeart/2008/layout/HorizontalMultiLevelHierarchy"/>
    <dgm:cxn modelId="{5FB44283-BC6E-DE4A-A1B4-B21433FC86F5}" type="presParOf" srcId="{BAA197B9-40F5-1D46-A384-973DDEA5160C}" destId="{F59926D0-D2AF-8940-B86B-A1820706A34B}" srcOrd="1" destOrd="0" presId="urn:microsoft.com/office/officeart/2008/layout/HorizontalMultiLevelHierarchy"/>
    <dgm:cxn modelId="{17E2099D-3683-AB4C-8663-B9C639247350}" type="presParOf" srcId="{598DBB90-9C26-4C4B-AC1C-FF1827BF8D97}" destId="{1442578F-E924-E34F-9FA5-3F4C2CF65BC9}" srcOrd="4" destOrd="0" presId="urn:microsoft.com/office/officeart/2008/layout/HorizontalMultiLevelHierarchy"/>
    <dgm:cxn modelId="{DA17E1F7-E5DE-4948-8EEA-080A39955A2D}" type="presParOf" srcId="{1442578F-E924-E34F-9FA5-3F4C2CF65BC9}" destId="{E59B7B1E-3287-FB43-A405-2A84667315EC}" srcOrd="0" destOrd="0" presId="urn:microsoft.com/office/officeart/2008/layout/HorizontalMultiLevelHierarchy"/>
    <dgm:cxn modelId="{3418EA41-269C-2F48-B9F3-5E5093158BD8}" type="presParOf" srcId="{598DBB90-9C26-4C4B-AC1C-FF1827BF8D97}" destId="{6188AF91-8F5E-7F4E-A0A2-13FA32167F53}" srcOrd="5" destOrd="0" presId="urn:microsoft.com/office/officeart/2008/layout/HorizontalMultiLevelHierarchy"/>
    <dgm:cxn modelId="{65DEDEDD-0E83-3C44-AAAC-C375AC793751}" type="presParOf" srcId="{6188AF91-8F5E-7F4E-A0A2-13FA32167F53}" destId="{5167760A-1265-4C43-B02A-4A72B3B39F5E}" srcOrd="0" destOrd="0" presId="urn:microsoft.com/office/officeart/2008/layout/HorizontalMultiLevelHierarchy"/>
    <dgm:cxn modelId="{BAC02989-CA12-F44D-AF82-B6BE5C1F156B}" type="presParOf" srcId="{6188AF91-8F5E-7F4E-A0A2-13FA32167F53}" destId="{21F2C295-F343-AC4A-8BE2-CFD4DAC170AE}" srcOrd="1" destOrd="0" presId="urn:microsoft.com/office/officeart/2008/layout/HorizontalMultiLevelHierarchy"/>
    <dgm:cxn modelId="{403EE04B-46EE-3648-B00D-EEBEA3B220B9}" type="presParOf" srcId="{598DBB90-9C26-4C4B-AC1C-FF1827BF8D97}" destId="{A3F719CD-4C36-CF49-B90F-B8B40A2B29DE}" srcOrd="6" destOrd="0" presId="urn:microsoft.com/office/officeart/2008/layout/HorizontalMultiLevelHierarchy"/>
    <dgm:cxn modelId="{3B609F57-489A-0B4B-B346-A6440204F2E2}" type="presParOf" srcId="{A3F719CD-4C36-CF49-B90F-B8B40A2B29DE}" destId="{348A166D-A55E-9147-99A1-FB87A4CF61A8}" srcOrd="0" destOrd="0" presId="urn:microsoft.com/office/officeart/2008/layout/HorizontalMultiLevelHierarchy"/>
    <dgm:cxn modelId="{707EA7F4-3C6B-8940-945C-CB0ED1A3FDF4}" type="presParOf" srcId="{598DBB90-9C26-4C4B-AC1C-FF1827BF8D97}" destId="{175E4F2C-D898-EE44-A4E7-79846E237DB4}" srcOrd="7" destOrd="0" presId="urn:microsoft.com/office/officeart/2008/layout/HorizontalMultiLevelHierarchy"/>
    <dgm:cxn modelId="{4D3185A7-2A41-4E49-B41F-DA18F0DB2E36}" type="presParOf" srcId="{175E4F2C-D898-EE44-A4E7-79846E237DB4}" destId="{921A596F-4B37-494E-B07C-17FD734C6406}" srcOrd="0" destOrd="0" presId="urn:microsoft.com/office/officeart/2008/layout/HorizontalMultiLevelHierarchy"/>
    <dgm:cxn modelId="{776404D8-1AA7-3747-8D86-7CC7E4B8466D}" type="presParOf" srcId="{175E4F2C-D898-EE44-A4E7-79846E237DB4}" destId="{A9D518F9-DAB2-4E45-9ECB-39AA13A01564}" srcOrd="1" destOrd="0" presId="urn:microsoft.com/office/officeart/2008/layout/HorizontalMultiLevelHierarchy"/>
    <dgm:cxn modelId="{0062A8EC-9FA6-6B4E-B263-BAFAA7B568F4}" type="presParOf" srcId="{A9D518F9-DAB2-4E45-9ECB-39AA13A01564}" destId="{8AD8F429-D3CB-F748-A62E-81D3E0DD1FE1}" srcOrd="0" destOrd="0" presId="urn:microsoft.com/office/officeart/2008/layout/HorizontalMultiLevelHierarchy"/>
    <dgm:cxn modelId="{349863DC-4EE2-AB43-939E-A7389B26E6CF}" type="presParOf" srcId="{8AD8F429-D3CB-F748-A62E-81D3E0DD1FE1}" destId="{27DD3461-0240-774A-8774-CC1A00541B61}" srcOrd="0" destOrd="0" presId="urn:microsoft.com/office/officeart/2008/layout/HorizontalMultiLevelHierarchy"/>
    <dgm:cxn modelId="{BC1E3DA8-5F9C-AD4D-AE7C-EF501F007EF2}" type="presParOf" srcId="{A9D518F9-DAB2-4E45-9ECB-39AA13A01564}" destId="{11FBA7F4-3D95-3448-9648-3CEA03AB03A5}" srcOrd="1" destOrd="0" presId="urn:microsoft.com/office/officeart/2008/layout/HorizontalMultiLevelHierarchy"/>
    <dgm:cxn modelId="{73039FBA-D645-5E49-B748-6A5E19FD57C1}" type="presParOf" srcId="{11FBA7F4-3D95-3448-9648-3CEA03AB03A5}" destId="{33CE7315-72E8-4545-9EC6-56F4D0BEC64D}" srcOrd="0" destOrd="0" presId="urn:microsoft.com/office/officeart/2008/layout/HorizontalMultiLevelHierarchy"/>
    <dgm:cxn modelId="{CC805E42-155D-DC4F-A287-E643E2164D8D}" type="presParOf" srcId="{11FBA7F4-3D95-3448-9648-3CEA03AB03A5}" destId="{F94ACA84-3A4A-0541-929E-9401CD7FB410}" srcOrd="1" destOrd="0" presId="urn:microsoft.com/office/officeart/2008/layout/HorizontalMultiLevelHierarchy"/>
    <dgm:cxn modelId="{C22C9E42-F0EA-7145-9169-C2D6B215E8E2}" type="presParOf" srcId="{598DBB90-9C26-4C4B-AC1C-FF1827BF8D97}" destId="{33DDFCA5-CC66-CC45-A430-EDF4DA53BA93}" srcOrd="8" destOrd="0" presId="urn:microsoft.com/office/officeart/2008/layout/HorizontalMultiLevelHierarchy"/>
    <dgm:cxn modelId="{2C73F747-0C93-9D4A-A336-F6642873CED6}" type="presParOf" srcId="{33DDFCA5-CC66-CC45-A430-EDF4DA53BA93}" destId="{569810E7-365A-FB48-A979-23DA3465EF4F}" srcOrd="0" destOrd="0" presId="urn:microsoft.com/office/officeart/2008/layout/HorizontalMultiLevelHierarchy"/>
    <dgm:cxn modelId="{9FEEA9FE-52B3-9349-BD8B-6ED6F65E97DC}" type="presParOf" srcId="{598DBB90-9C26-4C4B-AC1C-FF1827BF8D97}" destId="{299D8B01-3ECB-7743-BE59-35C50BD6249A}" srcOrd="9" destOrd="0" presId="urn:microsoft.com/office/officeart/2008/layout/HorizontalMultiLevelHierarchy"/>
    <dgm:cxn modelId="{C1765240-D680-664A-84F5-C90BDDEAA770}" type="presParOf" srcId="{299D8B01-3ECB-7743-BE59-35C50BD6249A}" destId="{03DEAF18-EC72-C047-A9B4-C65BE189F02C}" srcOrd="0" destOrd="0" presId="urn:microsoft.com/office/officeart/2008/layout/HorizontalMultiLevelHierarchy"/>
    <dgm:cxn modelId="{43A2E019-A5C3-AA48-A48F-0A646657EA9E}" type="presParOf" srcId="{299D8B01-3ECB-7743-BE59-35C50BD6249A}" destId="{322C5A5A-9E25-6047-BB00-4DF750E135CE}" srcOrd="1" destOrd="0" presId="urn:microsoft.com/office/officeart/2008/layout/HorizontalMultiLevelHierarchy"/>
    <dgm:cxn modelId="{AA71605A-E958-D141-BCE3-3402F494F3AD}" type="presParOf" srcId="{322C5A5A-9E25-6047-BB00-4DF750E135CE}" destId="{393A7F55-569D-7A48-ACE0-063418018375}" srcOrd="0" destOrd="0" presId="urn:microsoft.com/office/officeart/2008/layout/HorizontalMultiLevelHierarchy"/>
    <dgm:cxn modelId="{B3F2E77F-EB46-1F43-90F9-31A4C772E586}" type="presParOf" srcId="{393A7F55-569D-7A48-ACE0-063418018375}" destId="{A635BF91-C219-EB46-A0CA-F8A2CE3D7BF3}" srcOrd="0" destOrd="0" presId="urn:microsoft.com/office/officeart/2008/layout/HorizontalMultiLevelHierarchy"/>
    <dgm:cxn modelId="{64BE25BC-92E8-AD42-BA3D-014D09B476F0}" type="presParOf" srcId="{322C5A5A-9E25-6047-BB00-4DF750E135CE}" destId="{55918953-A6CF-814A-89F9-551623EBC010}" srcOrd="1" destOrd="0" presId="urn:microsoft.com/office/officeart/2008/layout/HorizontalMultiLevelHierarchy"/>
    <dgm:cxn modelId="{06642FF9-A1FC-CD40-A3CF-ACA09D90A877}" type="presParOf" srcId="{55918953-A6CF-814A-89F9-551623EBC010}" destId="{448042B3-2CED-424C-815C-8FD3B3AD8A39}" srcOrd="0" destOrd="0" presId="urn:microsoft.com/office/officeart/2008/layout/HorizontalMultiLevelHierarchy"/>
    <dgm:cxn modelId="{55FD18F9-ED41-2245-95B0-0F90B2556563}" type="presParOf" srcId="{55918953-A6CF-814A-89F9-551623EBC010}" destId="{4C59A0B4-1525-104C-AAB2-E79163983336}" srcOrd="1" destOrd="0" presId="urn:microsoft.com/office/officeart/2008/layout/HorizontalMultiLevelHierarchy"/>
    <dgm:cxn modelId="{F909BE20-5EF0-414E-8D30-9351792AE2C4}" type="presParOf" srcId="{322C5A5A-9E25-6047-BB00-4DF750E135CE}" destId="{64F502CF-3E90-0B4E-886C-91AB3F51938D}" srcOrd="2" destOrd="0" presId="urn:microsoft.com/office/officeart/2008/layout/HorizontalMultiLevelHierarchy"/>
    <dgm:cxn modelId="{CC95A3A9-145D-8046-8D32-74E594150241}" type="presParOf" srcId="{64F502CF-3E90-0B4E-886C-91AB3F51938D}" destId="{6FA82A28-C585-714B-9AF5-DA995FB3DF53}" srcOrd="0" destOrd="0" presId="urn:microsoft.com/office/officeart/2008/layout/HorizontalMultiLevelHierarchy"/>
    <dgm:cxn modelId="{843BF4A1-B71E-A14B-9DE0-642CE7CC08A5}" type="presParOf" srcId="{322C5A5A-9E25-6047-BB00-4DF750E135CE}" destId="{EC8B6A62-9FAE-5045-A1A4-029DC2356DF7}" srcOrd="3" destOrd="0" presId="urn:microsoft.com/office/officeart/2008/layout/HorizontalMultiLevelHierarchy"/>
    <dgm:cxn modelId="{0C7EA768-C50C-2B4F-AF8A-F69C1B4FECCB}" type="presParOf" srcId="{EC8B6A62-9FAE-5045-A1A4-029DC2356DF7}" destId="{F9B786D6-8B73-AC47-BEA7-3780A17C3E39}" srcOrd="0" destOrd="0" presId="urn:microsoft.com/office/officeart/2008/layout/HorizontalMultiLevelHierarchy"/>
    <dgm:cxn modelId="{38E03363-CFDF-8E45-8A09-4D15C474A408}" type="presParOf" srcId="{EC8B6A62-9FAE-5045-A1A4-029DC2356DF7}" destId="{6E27147E-0C63-E041-AB6B-5C0E60851726}" srcOrd="1" destOrd="0" presId="urn:microsoft.com/office/officeart/2008/layout/HorizontalMultiLevelHierarchy"/>
    <dgm:cxn modelId="{691DAAB9-6B50-B345-A8EA-4C463166A87B}" type="presParOf" srcId="{598DBB90-9C26-4C4B-AC1C-FF1827BF8D97}" destId="{60914178-E972-6747-98A5-9B1042D21399}" srcOrd="10" destOrd="0" presId="urn:microsoft.com/office/officeart/2008/layout/HorizontalMultiLevelHierarchy"/>
    <dgm:cxn modelId="{78B83F3A-9ACF-6343-B14C-869711ECE81A}" type="presParOf" srcId="{60914178-E972-6747-98A5-9B1042D21399}" destId="{03FF4E40-A0E8-E040-A52F-D68379DCC349}" srcOrd="0" destOrd="0" presId="urn:microsoft.com/office/officeart/2008/layout/HorizontalMultiLevelHierarchy"/>
    <dgm:cxn modelId="{567A8A50-0F42-0E49-A483-96C1C02DE1B6}" type="presParOf" srcId="{598DBB90-9C26-4C4B-AC1C-FF1827BF8D97}" destId="{82D22835-936A-1D4B-AF7A-2D86C6FB8621}" srcOrd="11" destOrd="0" presId="urn:microsoft.com/office/officeart/2008/layout/HorizontalMultiLevelHierarchy"/>
    <dgm:cxn modelId="{68C7B744-AB01-244D-83F7-E146C456C428}" type="presParOf" srcId="{82D22835-936A-1D4B-AF7A-2D86C6FB8621}" destId="{4D444EFA-484D-8B49-B53F-73AE5DAC83CB}" srcOrd="0" destOrd="0" presId="urn:microsoft.com/office/officeart/2008/layout/HorizontalMultiLevelHierarchy"/>
    <dgm:cxn modelId="{E285DF7B-CE76-044B-94EA-702AF1BA4DCD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800A2DEB-C104-3342-99FB-A9F416CE8FB0}" type="presOf" srcId="{436C1B23-A07F-9344-ADAB-98173723FB7F}" destId="{B541F6A1-B2AA-7447-8E11-AC7AA5D5D50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A5AA7224-1853-B54C-BBF4-F110E9A3A458}" type="presOf" srcId="{859769CA-042B-6244-840F-75AE1403619A}" destId="{4E546A01-1907-BB4F-B534-4E81DE6081F4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15248E12-A0F2-154C-82E9-3657C2922AED}" type="presOf" srcId="{0726F871-37F4-AB40-AF73-6656D7E9C85D}" destId="{613226CB-11A4-C549-82A6-64B9BCFE1002}" srcOrd="0" destOrd="0" presId="urn:microsoft.com/office/officeart/2008/layout/HorizontalMultiLevelHierarchy"/>
    <dgm:cxn modelId="{434E3117-75AE-A14B-A289-62D479920A2D}" type="presOf" srcId="{E543121D-95F7-3E47-B964-B7B948211EBC}" destId="{2C1F9B08-4495-8146-8974-2654E99B2E9A}" srcOrd="0" destOrd="0" presId="urn:microsoft.com/office/officeart/2008/layout/HorizontalMultiLevelHierarchy"/>
    <dgm:cxn modelId="{597857E0-5E38-6E43-B607-85444B3D1B09}" type="presOf" srcId="{6577C284-4D20-2C4A-88D4-29EB6FEAC9C2}" destId="{A3F719CD-4C36-CF49-B90F-B8B40A2B29DE}" srcOrd="0" destOrd="0" presId="urn:microsoft.com/office/officeart/2008/layout/HorizontalMultiLevelHierarchy"/>
    <dgm:cxn modelId="{1AB23F9D-AF76-124A-9FEC-576DD791B4D9}" type="presOf" srcId="{174F7A28-653D-6F45-9860-935E35504EE1}" destId="{4D444EFA-484D-8B49-B53F-73AE5DAC83CB}" srcOrd="0" destOrd="0" presId="urn:microsoft.com/office/officeart/2008/layout/HorizontalMultiLevelHierarchy"/>
    <dgm:cxn modelId="{182ECCAE-4344-254C-9C2D-82BE26C54F6D}" type="presOf" srcId="{488E1B12-EE7C-9246-8169-00D4E05307C4}" destId="{5E781A07-1968-A143-88EC-827822313B55}" srcOrd="0" destOrd="0" presId="urn:microsoft.com/office/officeart/2008/layout/HorizontalMultiLevelHierarchy"/>
    <dgm:cxn modelId="{FA45A91E-680E-FC40-8438-A6B1138E88CF}" type="presOf" srcId="{5ADEDBF8-717E-F946-B11E-4CC50D9988C8}" destId="{AB33012A-8C54-6245-96E8-E0111C081E33}" srcOrd="1" destOrd="0" presId="urn:microsoft.com/office/officeart/2008/layout/HorizontalMultiLevelHierarchy"/>
    <dgm:cxn modelId="{9799A84C-EDF3-604A-A1D7-4CAB68B5C6CB}" type="presOf" srcId="{B64CCDD1-81AB-5245-B99A-E87DB05674D4}" destId="{3C43B809-8F2F-3641-8339-1043D47661D7}" srcOrd="0" destOrd="0" presId="urn:microsoft.com/office/officeart/2008/layout/HorizontalMultiLevelHierarchy"/>
    <dgm:cxn modelId="{7CE29963-6E1B-F046-8364-BFFC325327FB}" type="presOf" srcId="{78A64519-4827-364C-A275-D5C68A949ADD}" destId="{33CE7315-72E8-4545-9EC6-56F4D0BEC64D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28A74F77-3843-E74C-B3D3-7AF850C3A732}" type="presOf" srcId="{BBD19103-9913-2A49-AB85-F021773D5328}" destId="{6FA82A28-C585-714B-9AF5-DA995FB3DF53}" srcOrd="1" destOrd="0" presId="urn:microsoft.com/office/officeart/2008/layout/HorizontalMultiLevelHierarchy"/>
    <dgm:cxn modelId="{2947F715-AFCD-7447-A7D1-F33D6C4B1991}" type="presOf" srcId="{63D1AE09-4F57-A443-A1FD-2A3034962097}" destId="{04D949B2-6FA5-4948-B335-DDA85E4E65B1}" srcOrd="1" destOrd="0" presId="urn:microsoft.com/office/officeart/2008/layout/HorizontalMultiLevelHierarchy"/>
    <dgm:cxn modelId="{EC9B2153-D92C-5B4E-A0BA-8F7C1F37E29E}" type="presOf" srcId="{5ADEDBF8-717E-F946-B11E-4CC50D9988C8}" destId="{D778007E-9974-2C41-910F-E1E5562B090A}" srcOrd="0" destOrd="0" presId="urn:microsoft.com/office/officeart/2008/layout/HorizontalMultiLevelHierarchy"/>
    <dgm:cxn modelId="{6225A39A-2755-EF4E-8403-6224F5B99D96}" type="presOf" srcId="{7E0C02E8-17C2-874D-B6DE-8E3A1D3437C9}" destId="{448042B3-2CED-424C-815C-8FD3B3AD8A39}" srcOrd="0" destOrd="0" presId="urn:microsoft.com/office/officeart/2008/layout/HorizontalMultiLevelHierarchy"/>
    <dgm:cxn modelId="{78C4C674-9C82-3C4A-B2F7-D69F20F041C1}" type="presOf" srcId="{08733529-A5F0-F14D-8E75-74214329B040}" destId="{A635BF91-C219-EB46-A0CA-F8A2CE3D7BF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5F69714D-FA0B-FE4F-ADFD-568D5D987CD0}" type="presOf" srcId="{BBD19103-9913-2A49-AB85-F021773D5328}" destId="{64F502CF-3E90-0B4E-886C-91AB3F51938D}" srcOrd="0" destOrd="0" presId="urn:microsoft.com/office/officeart/2008/layout/HorizontalMultiLevelHierarchy"/>
    <dgm:cxn modelId="{6CEA6CCB-C2CB-E348-B34B-F3B602A9DD35}" type="presOf" srcId="{6577C284-4D20-2C4A-88D4-29EB6FEAC9C2}" destId="{348A166D-A55E-9147-99A1-FB87A4CF61A8}" srcOrd="1" destOrd="0" presId="urn:microsoft.com/office/officeart/2008/layout/HorizontalMultiLevelHierarchy"/>
    <dgm:cxn modelId="{55595881-B3CF-7449-A303-A6CC3B075E45}" type="presOf" srcId="{63D1AE09-4F57-A443-A1FD-2A3034962097}" destId="{B7A5E06F-5B4B-C947-BFA6-C1FA5998CE54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AB811C1-2691-774C-B10F-0E4F1A34A943}" type="presOf" srcId="{C24B2AD7-9651-4B45-A8F4-0314EA8D4874}" destId="{8AD8F429-D3CB-F748-A62E-81D3E0DD1FE1}" srcOrd="0" destOrd="0" presId="urn:microsoft.com/office/officeart/2008/layout/HorizontalMultiLevelHierarchy"/>
    <dgm:cxn modelId="{5D464EB8-062D-4243-8DD2-DC2AB168522F}" type="presOf" srcId="{5E2A7D5A-EFB6-9C4F-A960-3D6903C39497}" destId="{E59B7B1E-3287-FB43-A405-2A84667315EC}" srcOrd="1" destOrd="0" presId="urn:microsoft.com/office/officeart/2008/layout/HorizontalMultiLevelHierarchy"/>
    <dgm:cxn modelId="{3A0C1AAC-C18F-F545-AD04-667B6ADA2A3E}" type="presOf" srcId="{9EB1846C-ABB5-9E44-B030-7BE73C498E59}" destId="{60914178-E972-6747-98A5-9B1042D21399}" srcOrd="0" destOrd="0" presId="urn:microsoft.com/office/officeart/2008/layout/HorizontalMultiLevelHierarchy"/>
    <dgm:cxn modelId="{5C10F077-AA94-CC4A-8FE6-4E3BEC002D48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06EF5F7-ACEE-F943-AF7A-03E67B5B4EB0}" type="presOf" srcId="{436C1B23-A07F-9344-ADAB-98173723FB7F}" destId="{0637CC4E-4D30-724B-9FFD-C7AED88FB068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D3A54D3-13CC-EC46-A032-7DA15411B941}" type="presOf" srcId="{8BC59F7D-94BF-3B43-BF5D-5485F4809DAD}" destId="{6D977B4C-E88D-6044-A647-A6CC29747BE1}" srcOrd="0" destOrd="0" presId="urn:microsoft.com/office/officeart/2008/layout/HorizontalMultiLevelHierarchy"/>
    <dgm:cxn modelId="{15919972-631A-2D4C-B461-694013A3EB4B}" type="presOf" srcId="{990267CF-EA89-A240-9514-9AFC12BBADEE}" destId="{03DEAF18-EC72-C047-A9B4-C65BE189F02C}" srcOrd="0" destOrd="0" presId="urn:microsoft.com/office/officeart/2008/layout/HorizontalMultiLevelHierarchy"/>
    <dgm:cxn modelId="{7D8733B9-7795-CF4E-84FC-6D22EF308D7C}" type="presOf" srcId="{9EB1846C-ABB5-9E44-B030-7BE73C498E59}" destId="{03FF4E40-A0E8-E040-A52F-D68379DCC349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334B9F47-FC1E-324B-8C9E-35AD9DA6B345}" type="presOf" srcId="{BA9C693C-1CF5-6E4E-A8C4-1E304AFD6DF5}" destId="{99E936FD-8649-9640-96D2-9202E1CEC417}" srcOrd="0" destOrd="0" presId="urn:microsoft.com/office/officeart/2008/layout/HorizontalMultiLevelHierarchy"/>
    <dgm:cxn modelId="{92B1E00D-004D-8B44-900D-0A9316737122}" type="presOf" srcId="{134C8002-4160-B046-917F-B9172D6D011E}" destId="{33DDFCA5-CC66-CC45-A430-EDF4DA53BA93}" srcOrd="0" destOrd="0" presId="urn:microsoft.com/office/officeart/2008/layout/HorizontalMultiLevelHierarchy"/>
    <dgm:cxn modelId="{6CCA5BD2-2576-EC4B-B603-3F75E887EC10}" type="presOf" srcId="{75291F63-6D2A-BA4D-9808-5F545EE4CCF0}" destId="{9FB8B136-71A7-D34F-B7EB-BD8FC5C96ECE}" srcOrd="0" destOrd="0" presId="urn:microsoft.com/office/officeart/2008/layout/HorizontalMultiLevelHierarchy"/>
    <dgm:cxn modelId="{66A632BA-2875-E547-8F9C-5AD8AEEC8B1F}" type="presOf" srcId="{C24B2AD7-9651-4B45-A8F4-0314EA8D4874}" destId="{27DD3461-0240-774A-8774-CC1A00541B61}" srcOrd="1" destOrd="0" presId="urn:microsoft.com/office/officeart/2008/layout/HorizontalMultiLevelHierarchy"/>
    <dgm:cxn modelId="{9FE5EAB0-2B51-EB43-8E44-FDEDAAA89976}" type="presOf" srcId="{E543121D-95F7-3E47-B964-B7B948211EBC}" destId="{C9D429FE-9539-9D4A-9750-F9C781598EC4}" srcOrd="1" destOrd="0" presId="urn:microsoft.com/office/officeart/2008/layout/HorizontalMultiLevelHierarchy"/>
    <dgm:cxn modelId="{855EC771-84DE-644E-A0FC-79EEDEEEC94A}" type="presOf" srcId="{26144DC7-9794-3E4B-BF8F-331E25884D5F}" destId="{921A596F-4B37-494E-B07C-17FD734C6406}" srcOrd="0" destOrd="0" presId="urn:microsoft.com/office/officeart/2008/layout/HorizontalMultiLevelHierarchy"/>
    <dgm:cxn modelId="{AA879A84-E8C0-364E-9485-B08818CBA51F}" type="presOf" srcId="{EF2BFDE9-4D1F-3049-B62C-65BE59459C50}" destId="{5167760A-1265-4C43-B02A-4A72B3B39F5E}" srcOrd="0" destOrd="0" presId="urn:microsoft.com/office/officeart/2008/layout/HorizontalMultiLevelHierarchy"/>
    <dgm:cxn modelId="{246DE14A-6304-C144-95C1-26AC4C966645}" type="presOf" srcId="{B8771036-12B2-D843-AA17-BB631BA3F87D}" destId="{F9B786D6-8B73-AC47-BEA7-3780A17C3E39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F85EA098-6773-104B-9C9D-D87866621538}" type="presOf" srcId="{08733529-A5F0-F14D-8E75-74214329B040}" destId="{393A7F55-569D-7A48-ACE0-063418018375}" srcOrd="0" destOrd="0" presId="urn:microsoft.com/office/officeart/2008/layout/HorizontalMultiLevelHierarchy"/>
    <dgm:cxn modelId="{B06C6CFC-3D42-014C-BFF0-35E1EC346CA0}" type="presOf" srcId="{C0976C3D-B466-7D45-ABFB-2E3685B2F19C}" destId="{D35EA19E-870C-2F44-A620-E6B51FB20589}" srcOrd="0" destOrd="0" presId="urn:microsoft.com/office/officeart/2008/layout/HorizontalMultiLevelHierarchy"/>
    <dgm:cxn modelId="{6E460AE0-278D-4D4B-B9A0-146008B9B4AE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73D737-696E-F64F-AD6B-31D734413520}" type="presOf" srcId="{8BC59F7D-94BF-3B43-BF5D-5485F4809DAD}" destId="{756F0DD8-11FC-8647-8FC8-7AAB634C5717}" srcOrd="1" destOrd="0" presId="urn:microsoft.com/office/officeart/2008/layout/HorizontalMultiLevelHierarchy"/>
    <dgm:cxn modelId="{A220943E-103B-6547-A3BF-06C5F9FE8265}" type="presParOf" srcId="{613226CB-11A4-C549-82A6-64B9BCFE1002}" destId="{3BA40406-1E55-1642-A22A-B49F5A173AC8}" srcOrd="0" destOrd="0" presId="urn:microsoft.com/office/officeart/2008/layout/HorizontalMultiLevelHierarchy"/>
    <dgm:cxn modelId="{768A910C-73CB-4948-8A8E-F9B844F78092}" type="presParOf" srcId="{3BA40406-1E55-1642-A22A-B49F5A173AC8}" destId="{99E936FD-8649-9640-96D2-9202E1CEC417}" srcOrd="0" destOrd="0" presId="urn:microsoft.com/office/officeart/2008/layout/HorizontalMultiLevelHierarchy"/>
    <dgm:cxn modelId="{E0135254-96A7-6C45-BAAA-780C81269AEB}" type="presParOf" srcId="{3BA40406-1E55-1642-A22A-B49F5A173AC8}" destId="{598DBB90-9C26-4C4B-AC1C-FF1827BF8D97}" srcOrd="1" destOrd="0" presId="urn:microsoft.com/office/officeart/2008/layout/HorizontalMultiLevelHierarchy"/>
    <dgm:cxn modelId="{BBAA72CA-D698-5645-B0D2-B0DE478FBC00}" type="presParOf" srcId="{598DBB90-9C26-4C4B-AC1C-FF1827BF8D97}" destId="{D778007E-9974-2C41-910F-E1E5562B090A}" srcOrd="0" destOrd="0" presId="urn:microsoft.com/office/officeart/2008/layout/HorizontalMultiLevelHierarchy"/>
    <dgm:cxn modelId="{2953130A-698F-6C4A-BC31-B0820C5F4DA6}" type="presParOf" srcId="{D778007E-9974-2C41-910F-E1E5562B090A}" destId="{AB33012A-8C54-6245-96E8-E0111C081E33}" srcOrd="0" destOrd="0" presId="urn:microsoft.com/office/officeart/2008/layout/HorizontalMultiLevelHierarchy"/>
    <dgm:cxn modelId="{130CA86C-1224-474C-8F7A-8A9B2E7F17A8}" type="presParOf" srcId="{598DBB90-9C26-4C4B-AC1C-FF1827BF8D97}" destId="{BCA6FE17-8DB6-0242-A6E4-C7D3971EBD97}" srcOrd="1" destOrd="0" presId="urn:microsoft.com/office/officeart/2008/layout/HorizontalMultiLevelHierarchy"/>
    <dgm:cxn modelId="{363D8437-696F-C24E-9087-F89C34A78263}" type="presParOf" srcId="{BCA6FE17-8DB6-0242-A6E4-C7D3971EBD97}" destId="{5E781A07-1968-A143-88EC-827822313B55}" srcOrd="0" destOrd="0" presId="urn:microsoft.com/office/officeart/2008/layout/HorizontalMultiLevelHierarchy"/>
    <dgm:cxn modelId="{72504BC4-E319-3F4B-BD53-BEDB6A7AD0FF}" type="presParOf" srcId="{BCA6FE17-8DB6-0242-A6E4-C7D3971EBD97}" destId="{BDDED42C-20CE-EF4E-85AA-7830E9428B23}" srcOrd="1" destOrd="0" presId="urn:microsoft.com/office/officeart/2008/layout/HorizontalMultiLevelHierarchy"/>
    <dgm:cxn modelId="{C5FE7CEC-916B-214D-AF7E-2B1A80AFEE6E}" type="presParOf" srcId="{598DBB90-9C26-4C4B-AC1C-FF1827BF8D97}" destId="{B7A5E06F-5B4B-C947-BFA6-C1FA5998CE54}" srcOrd="2" destOrd="0" presId="urn:microsoft.com/office/officeart/2008/layout/HorizontalMultiLevelHierarchy"/>
    <dgm:cxn modelId="{36C11BF1-2D83-4D4C-8C2A-018CFA593FEB}" type="presParOf" srcId="{B7A5E06F-5B4B-C947-BFA6-C1FA5998CE54}" destId="{04D949B2-6FA5-4948-B335-DDA85E4E65B1}" srcOrd="0" destOrd="0" presId="urn:microsoft.com/office/officeart/2008/layout/HorizontalMultiLevelHierarchy"/>
    <dgm:cxn modelId="{5E889BB4-B235-084D-A532-2AF8463517E4}" type="presParOf" srcId="{598DBB90-9C26-4C4B-AC1C-FF1827BF8D97}" destId="{5B0B9041-BDB4-7141-9957-0BEAFB33AEFE}" srcOrd="3" destOrd="0" presId="urn:microsoft.com/office/officeart/2008/layout/HorizontalMultiLevelHierarchy"/>
    <dgm:cxn modelId="{27C75D7B-68E4-124D-8AD3-763E22947AF7}" type="presParOf" srcId="{5B0B9041-BDB4-7141-9957-0BEAFB33AEFE}" destId="{D35EA19E-870C-2F44-A620-E6B51FB20589}" srcOrd="0" destOrd="0" presId="urn:microsoft.com/office/officeart/2008/layout/HorizontalMultiLevelHierarchy"/>
    <dgm:cxn modelId="{C29524F6-052A-AB4E-8A63-7757F7F2BBAB}" type="presParOf" srcId="{5B0B9041-BDB4-7141-9957-0BEAFB33AEFE}" destId="{62348515-9687-1045-ADA1-3184EC8CEC61}" srcOrd="1" destOrd="0" presId="urn:microsoft.com/office/officeart/2008/layout/HorizontalMultiLevelHierarchy"/>
    <dgm:cxn modelId="{9C2CC67F-DAB3-664F-B092-CAA7694B758C}" type="presParOf" srcId="{62348515-9687-1045-ADA1-3184EC8CEC61}" destId="{B541F6A1-B2AA-7447-8E11-AC7AA5D5D50B}" srcOrd="0" destOrd="0" presId="urn:microsoft.com/office/officeart/2008/layout/HorizontalMultiLevelHierarchy"/>
    <dgm:cxn modelId="{880E6225-0F25-B34E-B258-CEAA361C54CF}" type="presParOf" srcId="{B541F6A1-B2AA-7447-8E11-AC7AA5D5D50B}" destId="{0637CC4E-4D30-724B-9FFD-C7AED88FB068}" srcOrd="0" destOrd="0" presId="urn:microsoft.com/office/officeart/2008/layout/HorizontalMultiLevelHierarchy"/>
    <dgm:cxn modelId="{1681F13D-58EE-A649-8BE2-E7366272EFF5}" type="presParOf" srcId="{62348515-9687-1045-ADA1-3184EC8CEC61}" destId="{CA3C244E-E149-0742-ACEF-44B7ECE83631}" srcOrd="1" destOrd="0" presId="urn:microsoft.com/office/officeart/2008/layout/HorizontalMultiLevelHierarchy"/>
    <dgm:cxn modelId="{660ED3A0-BB19-0343-B662-961C192DC2C3}" type="presParOf" srcId="{CA3C244E-E149-0742-ACEF-44B7ECE83631}" destId="{9FB8B136-71A7-D34F-B7EB-BD8FC5C96ECE}" srcOrd="0" destOrd="0" presId="urn:microsoft.com/office/officeart/2008/layout/HorizontalMultiLevelHierarchy"/>
    <dgm:cxn modelId="{79AAE8C8-4791-B644-93DD-3EA49A09E488}" type="presParOf" srcId="{CA3C244E-E149-0742-ACEF-44B7ECE83631}" destId="{9B46DB51-FCC5-AC41-BECD-E28037B564D0}" srcOrd="1" destOrd="0" presId="urn:microsoft.com/office/officeart/2008/layout/HorizontalMultiLevelHierarchy"/>
    <dgm:cxn modelId="{9B253B94-844F-644D-90CC-B6B8FB197AD5}" type="presParOf" srcId="{62348515-9687-1045-ADA1-3184EC8CEC61}" destId="{2C1F9B08-4495-8146-8974-2654E99B2E9A}" srcOrd="2" destOrd="0" presId="urn:microsoft.com/office/officeart/2008/layout/HorizontalMultiLevelHierarchy"/>
    <dgm:cxn modelId="{5472E76C-C379-0746-81FF-989F99F76BF7}" type="presParOf" srcId="{2C1F9B08-4495-8146-8974-2654E99B2E9A}" destId="{C9D429FE-9539-9D4A-9750-F9C781598EC4}" srcOrd="0" destOrd="0" presId="urn:microsoft.com/office/officeart/2008/layout/HorizontalMultiLevelHierarchy"/>
    <dgm:cxn modelId="{27AB7205-E78F-EF47-B81E-C04C72522E13}" type="presParOf" srcId="{62348515-9687-1045-ADA1-3184EC8CEC61}" destId="{7F107BC0-209A-4C42-BEA6-B6817D5C9E09}" srcOrd="3" destOrd="0" presId="urn:microsoft.com/office/officeart/2008/layout/HorizontalMultiLevelHierarchy"/>
    <dgm:cxn modelId="{B3DA96F9-F6F7-8546-83DB-2E4C6E3C41C3}" type="presParOf" srcId="{7F107BC0-209A-4C42-BEA6-B6817D5C9E09}" destId="{4E546A01-1907-BB4F-B534-4E81DE6081F4}" srcOrd="0" destOrd="0" presId="urn:microsoft.com/office/officeart/2008/layout/HorizontalMultiLevelHierarchy"/>
    <dgm:cxn modelId="{C5EE9E1F-0991-C04D-ACC3-E70C0BFF7FDA}" type="presParOf" srcId="{7F107BC0-209A-4C42-BEA6-B6817D5C9E09}" destId="{F5393339-32D0-CE4B-9AAA-4B6A114FA39A}" srcOrd="1" destOrd="0" presId="urn:microsoft.com/office/officeart/2008/layout/HorizontalMultiLevelHierarchy"/>
    <dgm:cxn modelId="{19CA8D8D-2BF8-884B-AC04-3467956DF0A1}" type="presParOf" srcId="{62348515-9687-1045-ADA1-3184EC8CEC61}" destId="{6D977B4C-E88D-6044-A647-A6CC29747BE1}" srcOrd="4" destOrd="0" presId="urn:microsoft.com/office/officeart/2008/layout/HorizontalMultiLevelHierarchy"/>
    <dgm:cxn modelId="{2899D778-C694-CD4D-9035-853A156C831A}" type="presParOf" srcId="{6D977B4C-E88D-6044-A647-A6CC29747BE1}" destId="{756F0DD8-11FC-8647-8FC8-7AAB634C5717}" srcOrd="0" destOrd="0" presId="urn:microsoft.com/office/officeart/2008/layout/HorizontalMultiLevelHierarchy"/>
    <dgm:cxn modelId="{201DDDFF-6F4A-5E4F-A765-902DB4EBE938}" type="presParOf" srcId="{62348515-9687-1045-ADA1-3184EC8CEC61}" destId="{BAA197B9-40F5-1D46-A384-973DDEA5160C}" srcOrd="5" destOrd="0" presId="urn:microsoft.com/office/officeart/2008/layout/HorizontalMultiLevelHierarchy"/>
    <dgm:cxn modelId="{1950133D-9FE2-9246-A848-2AAB3C3743FD}" type="presParOf" srcId="{BAA197B9-40F5-1D46-A384-973DDEA5160C}" destId="{3C43B809-8F2F-3641-8339-1043D47661D7}" srcOrd="0" destOrd="0" presId="urn:microsoft.com/office/officeart/2008/layout/HorizontalMultiLevelHierarchy"/>
    <dgm:cxn modelId="{A51A1AC8-A893-5E4B-A5F0-71344D381263}" type="presParOf" srcId="{BAA197B9-40F5-1D46-A384-973DDEA5160C}" destId="{F59926D0-D2AF-8940-B86B-A1820706A34B}" srcOrd="1" destOrd="0" presId="urn:microsoft.com/office/officeart/2008/layout/HorizontalMultiLevelHierarchy"/>
    <dgm:cxn modelId="{A29E09F5-5D03-B043-B88A-19073CACD17B}" type="presParOf" srcId="{598DBB90-9C26-4C4B-AC1C-FF1827BF8D97}" destId="{1442578F-E924-E34F-9FA5-3F4C2CF65BC9}" srcOrd="4" destOrd="0" presId="urn:microsoft.com/office/officeart/2008/layout/HorizontalMultiLevelHierarchy"/>
    <dgm:cxn modelId="{F12009D1-B50B-344B-9BB3-7CE17216AF0F}" type="presParOf" srcId="{1442578F-E924-E34F-9FA5-3F4C2CF65BC9}" destId="{E59B7B1E-3287-FB43-A405-2A84667315EC}" srcOrd="0" destOrd="0" presId="urn:microsoft.com/office/officeart/2008/layout/HorizontalMultiLevelHierarchy"/>
    <dgm:cxn modelId="{D8C0EC3C-39C3-5F48-B29C-26529402D495}" type="presParOf" srcId="{598DBB90-9C26-4C4B-AC1C-FF1827BF8D97}" destId="{6188AF91-8F5E-7F4E-A0A2-13FA32167F53}" srcOrd="5" destOrd="0" presId="urn:microsoft.com/office/officeart/2008/layout/HorizontalMultiLevelHierarchy"/>
    <dgm:cxn modelId="{3C03489E-9A64-C444-8597-28922F56F857}" type="presParOf" srcId="{6188AF91-8F5E-7F4E-A0A2-13FA32167F53}" destId="{5167760A-1265-4C43-B02A-4A72B3B39F5E}" srcOrd="0" destOrd="0" presId="urn:microsoft.com/office/officeart/2008/layout/HorizontalMultiLevelHierarchy"/>
    <dgm:cxn modelId="{507BF82C-9C42-5144-9B81-7721E105B863}" type="presParOf" srcId="{6188AF91-8F5E-7F4E-A0A2-13FA32167F53}" destId="{21F2C295-F343-AC4A-8BE2-CFD4DAC170AE}" srcOrd="1" destOrd="0" presId="urn:microsoft.com/office/officeart/2008/layout/HorizontalMultiLevelHierarchy"/>
    <dgm:cxn modelId="{4B3AAB7A-628B-C94A-8396-272A155E650F}" type="presParOf" srcId="{598DBB90-9C26-4C4B-AC1C-FF1827BF8D97}" destId="{A3F719CD-4C36-CF49-B90F-B8B40A2B29DE}" srcOrd="6" destOrd="0" presId="urn:microsoft.com/office/officeart/2008/layout/HorizontalMultiLevelHierarchy"/>
    <dgm:cxn modelId="{988A9259-02B3-3345-905F-2866A1984410}" type="presParOf" srcId="{A3F719CD-4C36-CF49-B90F-B8B40A2B29DE}" destId="{348A166D-A55E-9147-99A1-FB87A4CF61A8}" srcOrd="0" destOrd="0" presId="urn:microsoft.com/office/officeart/2008/layout/HorizontalMultiLevelHierarchy"/>
    <dgm:cxn modelId="{057D70CE-95C9-CE44-AC5C-8024B7DA0257}" type="presParOf" srcId="{598DBB90-9C26-4C4B-AC1C-FF1827BF8D97}" destId="{175E4F2C-D898-EE44-A4E7-79846E237DB4}" srcOrd="7" destOrd="0" presId="urn:microsoft.com/office/officeart/2008/layout/HorizontalMultiLevelHierarchy"/>
    <dgm:cxn modelId="{D161DA65-BD6F-624E-9240-7AD02BD131CC}" type="presParOf" srcId="{175E4F2C-D898-EE44-A4E7-79846E237DB4}" destId="{921A596F-4B37-494E-B07C-17FD734C6406}" srcOrd="0" destOrd="0" presId="urn:microsoft.com/office/officeart/2008/layout/HorizontalMultiLevelHierarchy"/>
    <dgm:cxn modelId="{0B3E6958-1087-7F45-86BE-19AE43A823F1}" type="presParOf" srcId="{175E4F2C-D898-EE44-A4E7-79846E237DB4}" destId="{A9D518F9-DAB2-4E45-9ECB-39AA13A01564}" srcOrd="1" destOrd="0" presId="urn:microsoft.com/office/officeart/2008/layout/HorizontalMultiLevelHierarchy"/>
    <dgm:cxn modelId="{9995D87F-20F2-8C45-9069-B77FEAE6CF3E}" type="presParOf" srcId="{A9D518F9-DAB2-4E45-9ECB-39AA13A01564}" destId="{8AD8F429-D3CB-F748-A62E-81D3E0DD1FE1}" srcOrd="0" destOrd="0" presId="urn:microsoft.com/office/officeart/2008/layout/HorizontalMultiLevelHierarchy"/>
    <dgm:cxn modelId="{868D7CB1-8E4A-844A-8C06-AF0CF8CBF71D}" type="presParOf" srcId="{8AD8F429-D3CB-F748-A62E-81D3E0DD1FE1}" destId="{27DD3461-0240-774A-8774-CC1A00541B61}" srcOrd="0" destOrd="0" presId="urn:microsoft.com/office/officeart/2008/layout/HorizontalMultiLevelHierarchy"/>
    <dgm:cxn modelId="{5E577D16-5B6F-FE48-9784-41E2018CCD90}" type="presParOf" srcId="{A9D518F9-DAB2-4E45-9ECB-39AA13A01564}" destId="{11FBA7F4-3D95-3448-9648-3CEA03AB03A5}" srcOrd="1" destOrd="0" presId="urn:microsoft.com/office/officeart/2008/layout/HorizontalMultiLevelHierarchy"/>
    <dgm:cxn modelId="{DEA070F0-D03C-9A47-90A2-629BBA9A3912}" type="presParOf" srcId="{11FBA7F4-3D95-3448-9648-3CEA03AB03A5}" destId="{33CE7315-72E8-4545-9EC6-56F4D0BEC64D}" srcOrd="0" destOrd="0" presId="urn:microsoft.com/office/officeart/2008/layout/HorizontalMultiLevelHierarchy"/>
    <dgm:cxn modelId="{9CAB92E3-478B-924D-BEA9-93E34121067D}" type="presParOf" srcId="{11FBA7F4-3D95-3448-9648-3CEA03AB03A5}" destId="{F94ACA84-3A4A-0541-929E-9401CD7FB410}" srcOrd="1" destOrd="0" presId="urn:microsoft.com/office/officeart/2008/layout/HorizontalMultiLevelHierarchy"/>
    <dgm:cxn modelId="{502778BD-8055-0740-BF3E-201E0CA55278}" type="presParOf" srcId="{598DBB90-9C26-4C4B-AC1C-FF1827BF8D97}" destId="{33DDFCA5-CC66-CC45-A430-EDF4DA53BA93}" srcOrd="8" destOrd="0" presId="urn:microsoft.com/office/officeart/2008/layout/HorizontalMultiLevelHierarchy"/>
    <dgm:cxn modelId="{134014A6-21E6-024A-B5BF-90EE0B317671}" type="presParOf" srcId="{33DDFCA5-CC66-CC45-A430-EDF4DA53BA93}" destId="{569810E7-365A-FB48-A979-23DA3465EF4F}" srcOrd="0" destOrd="0" presId="urn:microsoft.com/office/officeart/2008/layout/HorizontalMultiLevelHierarchy"/>
    <dgm:cxn modelId="{8129C0B1-5324-C54F-B595-F878EC479219}" type="presParOf" srcId="{598DBB90-9C26-4C4B-AC1C-FF1827BF8D97}" destId="{299D8B01-3ECB-7743-BE59-35C50BD6249A}" srcOrd="9" destOrd="0" presId="urn:microsoft.com/office/officeart/2008/layout/HorizontalMultiLevelHierarchy"/>
    <dgm:cxn modelId="{B89F626A-D210-2C4A-ACCE-5918660DB4ED}" type="presParOf" srcId="{299D8B01-3ECB-7743-BE59-35C50BD6249A}" destId="{03DEAF18-EC72-C047-A9B4-C65BE189F02C}" srcOrd="0" destOrd="0" presId="urn:microsoft.com/office/officeart/2008/layout/HorizontalMultiLevelHierarchy"/>
    <dgm:cxn modelId="{06853180-A8A2-E449-813E-BA14072F60DD}" type="presParOf" srcId="{299D8B01-3ECB-7743-BE59-35C50BD6249A}" destId="{322C5A5A-9E25-6047-BB00-4DF750E135CE}" srcOrd="1" destOrd="0" presId="urn:microsoft.com/office/officeart/2008/layout/HorizontalMultiLevelHierarchy"/>
    <dgm:cxn modelId="{EDA3B3C6-8AD6-6E43-8150-96DC6298683B}" type="presParOf" srcId="{322C5A5A-9E25-6047-BB00-4DF750E135CE}" destId="{393A7F55-569D-7A48-ACE0-063418018375}" srcOrd="0" destOrd="0" presId="urn:microsoft.com/office/officeart/2008/layout/HorizontalMultiLevelHierarchy"/>
    <dgm:cxn modelId="{F75B279A-4674-8F47-A25B-C1DFB21CAF59}" type="presParOf" srcId="{393A7F55-569D-7A48-ACE0-063418018375}" destId="{A635BF91-C219-EB46-A0CA-F8A2CE3D7BF3}" srcOrd="0" destOrd="0" presId="urn:microsoft.com/office/officeart/2008/layout/HorizontalMultiLevelHierarchy"/>
    <dgm:cxn modelId="{9F114E04-3828-A944-BAA3-182FC6DFA85F}" type="presParOf" srcId="{322C5A5A-9E25-6047-BB00-4DF750E135CE}" destId="{55918953-A6CF-814A-89F9-551623EBC010}" srcOrd="1" destOrd="0" presId="urn:microsoft.com/office/officeart/2008/layout/HorizontalMultiLevelHierarchy"/>
    <dgm:cxn modelId="{08D215D2-D09B-5740-A1FE-25A9B686877F}" type="presParOf" srcId="{55918953-A6CF-814A-89F9-551623EBC010}" destId="{448042B3-2CED-424C-815C-8FD3B3AD8A39}" srcOrd="0" destOrd="0" presId="urn:microsoft.com/office/officeart/2008/layout/HorizontalMultiLevelHierarchy"/>
    <dgm:cxn modelId="{CAEA47F2-3968-9D43-814A-7EB5ED489A25}" type="presParOf" srcId="{55918953-A6CF-814A-89F9-551623EBC010}" destId="{4C59A0B4-1525-104C-AAB2-E79163983336}" srcOrd="1" destOrd="0" presId="urn:microsoft.com/office/officeart/2008/layout/HorizontalMultiLevelHierarchy"/>
    <dgm:cxn modelId="{92E43346-F070-934D-BDFD-375EAE801053}" type="presParOf" srcId="{322C5A5A-9E25-6047-BB00-4DF750E135CE}" destId="{64F502CF-3E90-0B4E-886C-91AB3F51938D}" srcOrd="2" destOrd="0" presId="urn:microsoft.com/office/officeart/2008/layout/HorizontalMultiLevelHierarchy"/>
    <dgm:cxn modelId="{89008A2D-8109-7143-850F-B46FC3A02463}" type="presParOf" srcId="{64F502CF-3E90-0B4E-886C-91AB3F51938D}" destId="{6FA82A28-C585-714B-9AF5-DA995FB3DF53}" srcOrd="0" destOrd="0" presId="urn:microsoft.com/office/officeart/2008/layout/HorizontalMultiLevelHierarchy"/>
    <dgm:cxn modelId="{2724ADD8-30BD-3045-95E6-65EC3BA3A0A4}" type="presParOf" srcId="{322C5A5A-9E25-6047-BB00-4DF750E135CE}" destId="{EC8B6A62-9FAE-5045-A1A4-029DC2356DF7}" srcOrd="3" destOrd="0" presId="urn:microsoft.com/office/officeart/2008/layout/HorizontalMultiLevelHierarchy"/>
    <dgm:cxn modelId="{C0C6A0A4-D272-7C49-B3B5-80A495B2DD56}" type="presParOf" srcId="{EC8B6A62-9FAE-5045-A1A4-029DC2356DF7}" destId="{F9B786D6-8B73-AC47-BEA7-3780A17C3E39}" srcOrd="0" destOrd="0" presId="urn:microsoft.com/office/officeart/2008/layout/HorizontalMultiLevelHierarchy"/>
    <dgm:cxn modelId="{0C805D38-3194-9B45-8354-2C2F2185C3E3}" type="presParOf" srcId="{EC8B6A62-9FAE-5045-A1A4-029DC2356DF7}" destId="{6E27147E-0C63-E041-AB6B-5C0E60851726}" srcOrd="1" destOrd="0" presId="urn:microsoft.com/office/officeart/2008/layout/HorizontalMultiLevelHierarchy"/>
    <dgm:cxn modelId="{8432E5FB-0D0A-1543-B668-BC4B31012538}" type="presParOf" srcId="{598DBB90-9C26-4C4B-AC1C-FF1827BF8D97}" destId="{60914178-E972-6747-98A5-9B1042D21399}" srcOrd="10" destOrd="0" presId="urn:microsoft.com/office/officeart/2008/layout/HorizontalMultiLevelHierarchy"/>
    <dgm:cxn modelId="{0E9D30F2-FD09-1E4D-87F0-7A63BD1F9A39}" type="presParOf" srcId="{60914178-E972-6747-98A5-9B1042D21399}" destId="{03FF4E40-A0E8-E040-A52F-D68379DCC349}" srcOrd="0" destOrd="0" presId="urn:microsoft.com/office/officeart/2008/layout/HorizontalMultiLevelHierarchy"/>
    <dgm:cxn modelId="{79E51343-D8FF-AB42-BBCA-33F1D1C09342}" type="presParOf" srcId="{598DBB90-9C26-4C4B-AC1C-FF1827BF8D97}" destId="{82D22835-936A-1D4B-AF7A-2D86C6FB8621}" srcOrd="11" destOrd="0" presId="urn:microsoft.com/office/officeart/2008/layout/HorizontalMultiLevelHierarchy"/>
    <dgm:cxn modelId="{BA08E708-5418-2E43-A048-FDDA706E5854}" type="presParOf" srcId="{82D22835-936A-1D4B-AF7A-2D86C6FB8621}" destId="{4D444EFA-484D-8B49-B53F-73AE5DAC83CB}" srcOrd="0" destOrd="0" presId="urn:microsoft.com/office/officeart/2008/layout/HorizontalMultiLevelHierarchy"/>
    <dgm:cxn modelId="{8A2956BF-00E5-C54A-BBFF-12503BD7442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A0A7213E-DDC1-0A4A-9EA9-2DE7765F7BA5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D77DBDB0-AA14-6344-B997-F7C9AAB1393F}" type="parTrans" cxnId="{4FEBB92D-AF43-684A-9C71-9A0D86032F45}">
      <dgm:prSet/>
      <dgm:spPr/>
      <dgm:t>
        <a:bodyPr/>
        <a:lstStyle/>
        <a:p>
          <a:endParaRPr lang="de-DE"/>
        </a:p>
      </dgm:t>
    </dgm:pt>
    <dgm:pt modelId="{01F88529-A4ED-364B-992B-E517AB05BEB5}" type="sibTrans" cxnId="{4FEBB92D-AF43-684A-9C71-9A0D86032F45}">
      <dgm:prSet/>
      <dgm:spPr/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15C87296-B9AA-FA44-B9DD-76C5EA163456}" type="pres">
      <dgm:prSet presAssocID="{D77DBDB0-AA14-6344-B997-F7C9AAB1393F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490BACCA-3EE7-FA48-8554-19FB2EE8273B}" type="pres">
      <dgm:prSet presAssocID="{D77DBDB0-AA14-6344-B997-F7C9AAB1393F}" presName="connTx" presStyleLbl="parChTrans1D2" presStyleIdx="0" presStyleCnt="9"/>
      <dgm:spPr/>
      <dgm:t>
        <a:bodyPr/>
        <a:lstStyle/>
        <a:p>
          <a:endParaRPr lang="de-DE"/>
        </a:p>
      </dgm:t>
    </dgm:pt>
    <dgm:pt modelId="{87016DF9-D807-514A-9D3B-A9D7A158303E}" type="pres">
      <dgm:prSet presAssocID="{A0A7213E-DDC1-0A4A-9EA9-2DE7765F7BA5}" presName="root2" presStyleCnt="0"/>
      <dgm:spPr/>
    </dgm:pt>
    <dgm:pt modelId="{B5785E35-B8B8-3A42-9FBC-0F4531D4B61C}" type="pres">
      <dgm:prSet presAssocID="{A0A7213E-DDC1-0A4A-9EA9-2DE7765F7BA5}" presName="LevelTwoTextNode" presStyleLbl="asst1" presStyleIdx="0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E570FE8-D6EF-3346-9959-54A5113E8CEA}" type="pres">
      <dgm:prSet presAssocID="{A0A7213E-DDC1-0A4A-9EA9-2DE7765F7BA5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FFDF0F7-6B28-7C44-B6AB-7A689ABD0E37}" type="presOf" srcId="{90FBF026-5068-6043-A75B-344D047E346D}" destId="{62990B64-CF79-7146-BF7B-48A759C6E310}" srcOrd="1" destOrd="0" presId="urn:microsoft.com/office/officeart/2008/layout/HorizontalMultiLevelHierarchy"/>
    <dgm:cxn modelId="{21ECCD43-E677-E347-A24C-8DDA76202ECB}" type="presOf" srcId="{9EB1846C-ABB5-9E44-B030-7BE73C498E59}" destId="{03FF4E40-A0E8-E040-A52F-D68379DCC349}" srcOrd="1" destOrd="0" presId="urn:microsoft.com/office/officeart/2008/layout/HorizontalMultiLevelHierarchy"/>
    <dgm:cxn modelId="{61CD24CF-C829-714C-B604-FDE9DCA9E47D}" type="presOf" srcId="{BBD19103-9913-2A49-AB85-F021773D5328}" destId="{6FA82A28-C585-714B-9AF5-DA995FB3DF53}" srcOrd="1" destOrd="0" presId="urn:microsoft.com/office/officeart/2008/layout/HorizontalMultiLevelHierarchy"/>
    <dgm:cxn modelId="{F3493F31-CAEC-9847-9A21-7433F653CAED}" type="presOf" srcId="{73DD7058-02B4-D24C-9D13-AF75375EF8E6}" destId="{55365CED-83D4-194F-A914-2CFC37CD9B45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8F0817E-2177-0C43-95DE-FD4541E92F87}" type="presOf" srcId="{B3C905E3-C669-9942-AEC9-21A47474CEB4}" destId="{DB79995B-B315-9C4C-BCA0-97AF2CF960CD}" srcOrd="1" destOrd="0" presId="urn:microsoft.com/office/officeart/2008/layout/HorizontalMultiLevelHierarchy"/>
    <dgm:cxn modelId="{774ACC76-D457-FF47-AE2B-976EB20B396A}" type="presOf" srcId="{D77DBDB0-AA14-6344-B997-F7C9AAB1393F}" destId="{490BACCA-3EE7-FA48-8554-19FB2EE8273B}" srcOrd="1" destOrd="0" presId="urn:microsoft.com/office/officeart/2008/layout/HorizontalMultiLevelHierarchy"/>
    <dgm:cxn modelId="{C47FAE81-FBA4-9C45-961D-A5719F0CCF9E}" type="presOf" srcId="{8B212141-5DD9-384A-A240-561E72DAAF7B}" destId="{21C89BDE-E13D-974B-B17D-6B6CDBB2C8DB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AF2591E1-745C-414D-8835-F120E11EF0DA}" type="presOf" srcId="{6577C284-4D20-2C4A-88D4-29EB6FEAC9C2}" destId="{A3F719CD-4C36-CF49-B90F-B8B40A2B29DE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212C599-214C-C24D-A2EC-03A658259938}" type="presOf" srcId="{B3C905E3-C669-9942-AEC9-21A47474CEB4}" destId="{996189F3-00B3-7D49-A5FC-5430A26FB618}" srcOrd="0" destOrd="0" presId="urn:microsoft.com/office/officeart/2008/layout/HorizontalMultiLevelHierarchy"/>
    <dgm:cxn modelId="{3B5646DC-22A6-2C4D-B38B-5A70EC0211BF}" type="presOf" srcId="{B4B50EEB-1538-DF45-B07F-7D0FD83C8ED3}" destId="{91975744-72FE-E947-98E3-ECF3B2E7C3DC}" srcOrd="0" destOrd="0" presId="urn:microsoft.com/office/officeart/2008/layout/HorizontalMultiLevelHierarchy"/>
    <dgm:cxn modelId="{4FE4B1CF-2167-F343-9C5B-9DDDFBF4ADB3}" type="presOf" srcId="{134C8002-4160-B046-917F-B9172D6D011E}" destId="{569810E7-365A-FB48-A979-23DA3465EF4F}" srcOrd="1" destOrd="0" presId="urn:microsoft.com/office/officeart/2008/layout/HorizontalMultiLevelHierarchy"/>
    <dgm:cxn modelId="{8E86983C-673C-AA45-A6EB-C50DDFD49B87}" type="presOf" srcId="{63D1AE09-4F57-A443-A1FD-2A3034962097}" destId="{B7A5E06F-5B4B-C947-BFA6-C1FA5998CE54}" srcOrd="0" destOrd="0" presId="urn:microsoft.com/office/officeart/2008/layout/HorizontalMultiLevelHierarchy"/>
    <dgm:cxn modelId="{06A66FF9-3702-6740-BA3F-4321AD79DED8}" type="presOf" srcId="{B4B50EEB-1538-DF45-B07F-7D0FD83C8ED3}" destId="{7C4C248C-9225-884B-A9F0-E626AEAE24C9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B965852D-157C-C14A-9CE3-8A8ABD99842A}" type="presOf" srcId="{5E2A7D5A-EFB6-9C4F-A960-3D6903C39497}" destId="{E59B7B1E-3287-FB43-A405-2A84667315EC}" srcOrd="1" destOrd="0" presId="urn:microsoft.com/office/officeart/2008/layout/HorizontalMultiLevelHierarchy"/>
    <dgm:cxn modelId="{DB559C28-F2EC-CA42-95DD-5E720218C9E2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46A66EB-813E-9C44-ACB7-4E3099ACC73A}" type="presOf" srcId="{5E2A7D5A-EFB6-9C4F-A960-3D6903C39497}" destId="{1442578F-E924-E34F-9FA5-3F4C2CF65BC9}" srcOrd="0" destOrd="0" presId="urn:microsoft.com/office/officeart/2008/layout/HorizontalMultiLevelHierarchy"/>
    <dgm:cxn modelId="{E7B2C7E1-8677-FE43-9AE6-0DD757627DD0}" type="presOf" srcId="{6577C284-4D20-2C4A-88D4-29EB6FEAC9C2}" destId="{348A166D-A55E-9147-99A1-FB87A4CF61A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E1569F1-C991-9F4C-8051-4B9DCCE4485D}" type="presOf" srcId="{516F75D9-69F5-0544-995D-CFB72352B59F}" destId="{887F982A-9047-D440-AFAC-0FD9C008886A}" srcOrd="0" destOrd="0" presId="urn:microsoft.com/office/officeart/2008/layout/HorizontalMultiLevelHierarchy"/>
    <dgm:cxn modelId="{B4790D65-6A6E-F54E-AE7F-18770C7910E0}" type="presOf" srcId="{08733529-A5F0-F14D-8E75-74214329B040}" destId="{393A7F55-569D-7A48-ACE0-063418018375}" srcOrd="0" destOrd="0" presId="urn:microsoft.com/office/officeart/2008/layout/HorizontalMultiLevelHierarchy"/>
    <dgm:cxn modelId="{DE89A115-4F17-7B46-A3D5-5520E69AD254}" type="presOf" srcId="{EF2BFDE9-4D1F-3049-B62C-65BE59459C50}" destId="{5167760A-1265-4C43-B02A-4A72B3B39F5E}" srcOrd="0" destOrd="0" presId="urn:microsoft.com/office/officeart/2008/layout/HorizontalMultiLevelHierarchy"/>
    <dgm:cxn modelId="{FF71BB4D-42B3-4340-AA9E-63E22EF575EC}" type="presOf" srcId="{9EB1846C-ABB5-9E44-B030-7BE73C498E59}" destId="{60914178-E972-6747-98A5-9B1042D21399}" srcOrd="0" destOrd="0" presId="urn:microsoft.com/office/officeart/2008/layout/HorizontalMultiLevelHierarchy"/>
    <dgm:cxn modelId="{E1D72B9F-8667-574E-8E70-C4C7845E8A7A}" type="presOf" srcId="{63D1AE09-4F57-A443-A1FD-2A3034962097}" destId="{04D949B2-6FA5-4948-B335-DDA85E4E65B1}" srcOrd="1" destOrd="0" presId="urn:microsoft.com/office/officeart/2008/layout/HorizontalMultiLevelHierarchy"/>
    <dgm:cxn modelId="{5AC7AD64-476D-CB4A-9017-2041C46B307B}" type="presOf" srcId="{C0976C3D-B466-7D45-ABFB-2E3685B2F19C}" destId="{D35EA19E-870C-2F44-A620-E6B51FB20589}" srcOrd="0" destOrd="0" presId="urn:microsoft.com/office/officeart/2008/layout/HorizontalMultiLevelHierarchy"/>
    <dgm:cxn modelId="{642398EB-593B-C642-B430-B5B9A42BF211}" type="presOf" srcId="{73DD7058-02B4-D24C-9D13-AF75375EF8E6}" destId="{12E46C15-0F90-7843-8745-7EFB583D5A38}" srcOrd="1" destOrd="0" presId="urn:microsoft.com/office/officeart/2008/layout/HorizontalMultiLevelHierarchy"/>
    <dgm:cxn modelId="{077F1B5B-D077-4F48-BE59-01A1BB4AD402}" type="presOf" srcId="{80BD7623-DCEC-2448-AB85-7A6B177B6EBB}" destId="{73B69BAE-7567-8E4E-A9B2-D2862F6B978E}" srcOrd="0" destOrd="0" presId="urn:microsoft.com/office/officeart/2008/layout/HorizontalMultiLevelHierarchy"/>
    <dgm:cxn modelId="{38037096-394C-FD4C-9965-471C908A0268}" type="presOf" srcId="{07A4D93E-7AFB-4E4D-8384-CFBE7085BD56}" destId="{9D34DFA2-4C7C-5642-ADF0-8F3EDFBC71AF}" srcOrd="1" destOrd="0" presId="urn:microsoft.com/office/officeart/2008/layout/HorizontalMultiLevelHierarchy"/>
    <dgm:cxn modelId="{CA98C327-060A-C945-A2CB-7857070C7A86}" type="presOf" srcId="{1333B56B-0FB7-DB46-BFA8-14BA9E09141B}" destId="{9E30CAA0-C8DA-7340-9AC5-F7AFBAE25743}" srcOrd="0" destOrd="0" presId="urn:microsoft.com/office/officeart/2008/layout/HorizontalMultiLevelHierarchy"/>
    <dgm:cxn modelId="{B7626EE3-571A-A54F-9989-E0E41093270E}" type="presOf" srcId="{08733529-A5F0-F14D-8E75-74214329B040}" destId="{A635BF91-C219-EB46-A0CA-F8A2CE3D7BF3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BDCEBEA9-3E2C-D740-B731-6B93297EB821}" type="presOf" srcId="{B8771036-12B2-D843-AA17-BB631BA3F87D}" destId="{F9B786D6-8B73-AC47-BEA7-3780A17C3E39}" srcOrd="0" destOrd="0" presId="urn:microsoft.com/office/officeart/2008/layout/HorizontalMultiLevelHierarchy"/>
    <dgm:cxn modelId="{D7006F5F-FFF4-4346-A5E4-2B03A959863A}" type="presOf" srcId="{174F7A28-653D-6F45-9860-935E35504EE1}" destId="{4D444EFA-484D-8B49-B53F-73AE5DAC83CB}" srcOrd="0" destOrd="0" presId="urn:microsoft.com/office/officeart/2008/layout/HorizontalMultiLevelHierarchy"/>
    <dgm:cxn modelId="{3D47ED29-56CD-1145-8239-D8C78A341ED7}" type="presOf" srcId="{134C8002-4160-B046-917F-B9172D6D011E}" destId="{33DDFCA5-CC66-CC45-A430-EDF4DA53BA93}" srcOrd="0" destOrd="0" presId="urn:microsoft.com/office/officeart/2008/layout/HorizontalMultiLevelHierarchy"/>
    <dgm:cxn modelId="{DD4EF803-3D88-A64C-9E4C-E4404EFF8F7B}" type="presOf" srcId="{0726F871-37F4-AB40-AF73-6656D7E9C85D}" destId="{613226CB-11A4-C549-82A6-64B9BCFE1002}" srcOrd="0" destOrd="0" presId="urn:microsoft.com/office/officeart/2008/layout/HorizontalMultiLevelHierarchy"/>
    <dgm:cxn modelId="{888BA810-60B1-874D-A468-F249379B3807}" type="presOf" srcId="{26144DC7-9794-3E4B-BF8F-331E25884D5F}" destId="{921A596F-4B37-494E-B07C-17FD734C6406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34368E-5599-364F-9F1C-8DE0B865BB92}" type="presOf" srcId="{BA9C693C-1CF5-6E4E-A8C4-1E304AFD6DF5}" destId="{99E936FD-8649-9640-96D2-9202E1CEC417}" srcOrd="0" destOrd="0" presId="urn:microsoft.com/office/officeart/2008/layout/HorizontalMultiLevelHierarchy"/>
    <dgm:cxn modelId="{4FEBB92D-AF43-684A-9C71-9A0D86032F45}" srcId="{BA9C693C-1CF5-6E4E-A8C4-1E304AFD6DF5}" destId="{A0A7213E-DDC1-0A4A-9EA9-2DE7765F7BA5}" srcOrd="0" destOrd="0" parTransId="{D77DBDB0-AA14-6344-B997-F7C9AAB1393F}" sibTransId="{01F88529-A4ED-364B-992B-E517AB05BEB5}"/>
    <dgm:cxn modelId="{97E69493-81B5-B443-9E4C-1AA5A2E8813F}" type="presOf" srcId="{BBD19103-9913-2A49-AB85-F021773D5328}" destId="{64F502CF-3E90-0B4E-886C-91AB3F51938D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41578ADB-DB08-2D4F-BB11-084ED44B1966}" type="presOf" srcId="{11D7D97A-F1CC-6A49-92BA-1094CF9B8EE3}" destId="{84732D04-01E1-2742-A082-1195BCDCDEC2}" srcOrd="0" destOrd="0" presId="urn:microsoft.com/office/officeart/2008/layout/HorizontalMultiLevelHierarchy"/>
    <dgm:cxn modelId="{3C9EBA0D-2EA6-D646-A972-97024CF6F58D}" type="presOf" srcId="{990267CF-EA89-A240-9514-9AFC12BBADEE}" destId="{03DEAF18-EC72-C047-A9B4-C65BE189F02C}" srcOrd="0" destOrd="0" presId="urn:microsoft.com/office/officeart/2008/layout/HorizontalMultiLevelHierarchy"/>
    <dgm:cxn modelId="{026A99D1-A5A3-9E46-9A66-148886D67D81}" type="presOf" srcId="{07A4D93E-7AFB-4E4D-8384-CFBE7085BD56}" destId="{42308E2A-E89A-524C-8598-CEBE02495F63}" srcOrd="0" destOrd="0" presId="urn:microsoft.com/office/officeart/2008/layout/HorizontalMultiLevelHierarchy"/>
    <dgm:cxn modelId="{52C5F29D-767A-CB44-B651-CF9CDA059A27}" type="presOf" srcId="{D77DBDB0-AA14-6344-B997-F7C9AAB1393F}" destId="{15C87296-B9AA-FA44-B9DD-76C5EA163456}" srcOrd="0" destOrd="0" presId="urn:microsoft.com/office/officeart/2008/layout/HorizontalMultiLevelHierarchy"/>
    <dgm:cxn modelId="{BE431C39-50A3-284D-93E7-0B1FA7F393D1}" type="presOf" srcId="{90FBF026-5068-6043-A75B-344D047E346D}" destId="{2242491C-75CB-654B-ABCA-74AF8E25B4E8}" srcOrd="0" destOrd="0" presId="urn:microsoft.com/office/officeart/2008/layout/HorizontalMultiLevelHierarchy"/>
    <dgm:cxn modelId="{639B225B-DFB4-CC4A-BD35-4D5D53484ECE}" type="presOf" srcId="{A0A7213E-DDC1-0A4A-9EA9-2DE7765F7BA5}" destId="{B5785E35-B8B8-3A42-9FBC-0F4531D4B61C}" srcOrd="0" destOrd="0" presId="urn:microsoft.com/office/officeart/2008/layout/HorizontalMultiLevelHierarchy"/>
    <dgm:cxn modelId="{90B80DEE-B3DF-3F40-84F2-0277C9809FBE}" type="presParOf" srcId="{613226CB-11A4-C549-82A6-64B9BCFE1002}" destId="{3BA40406-1E55-1642-A22A-B49F5A173AC8}" srcOrd="0" destOrd="0" presId="urn:microsoft.com/office/officeart/2008/layout/HorizontalMultiLevelHierarchy"/>
    <dgm:cxn modelId="{08C8E248-67A2-294F-A4B4-B45BCD291C2A}" type="presParOf" srcId="{3BA40406-1E55-1642-A22A-B49F5A173AC8}" destId="{99E936FD-8649-9640-96D2-9202E1CEC417}" srcOrd="0" destOrd="0" presId="urn:microsoft.com/office/officeart/2008/layout/HorizontalMultiLevelHierarchy"/>
    <dgm:cxn modelId="{A6C319B4-1E52-6747-860E-1159516AA48A}" type="presParOf" srcId="{3BA40406-1E55-1642-A22A-B49F5A173AC8}" destId="{598DBB90-9C26-4C4B-AC1C-FF1827BF8D97}" srcOrd="1" destOrd="0" presId="urn:microsoft.com/office/officeart/2008/layout/HorizontalMultiLevelHierarchy"/>
    <dgm:cxn modelId="{C0DB18ED-AC6D-8C45-B0DF-8DA0B16A3F86}" type="presParOf" srcId="{598DBB90-9C26-4C4B-AC1C-FF1827BF8D97}" destId="{15C87296-B9AA-FA44-B9DD-76C5EA163456}" srcOrd="0" destOrd="0" presId="urn:microsoft.com/office/officeart/2008/layout/HorizontalMultiLevelHierarchy"/>
    <dgm:cxn modelId="{FC5A22B2-8FB8-1248-B2B2-BE6860BA90AA}" type="presParOf" srcId="{15C87296-B9AA-FA44-B9DD-76C5EA163456}" destId="{490BACCA-3EE7-FA48-8554-19FB2EE8273B}" srcOrd="0" destOrd="0" presId="urn:microsoft.com/office/officeart/2008/layout/HorizontalMultiLevelHierarchy"/>
    <dgm:cxn modelId="{3768C36E-36E8-9F4F-96F3-A1EC203008FD}" type="presParOf" srcId="{598DBB90-9C26-4C4B-AC1C-FF1827BF8D97}" destId="{87016DF9-D807-514A-9D3B-A9D7A158303E}" srcOrd="1" destOrd="0" presId="urn:microsoft.com/office/officeart/2008/layout/HorizontalMultiLevelHierarchy"/>
    <dgm:cxn modelId="{CAD0412F-368A-7740-92F7-2717825BDD4C}" type="presParOf" srcId="{87016DF9-D807-514A-9D3B-A9D7A158303E}" destId="{B5785E35-B8B8-3A42-9FBC-0F4531D4B61C}" srcOrd="0" destOrd="0" presId="urn:microsoft.com/office/officeart/2008/layout/HorizontalMultiLevelHierarchy"/>
    <dgm:cxn modelId="{AE28DA8D-C549-6747-8780-EE6EE7093F3B}" type="presParOf" srcId="{87016DF9-D807-514A-9D3B-A9D7A158303E}" destId="{BE570FE8-D6EF-3346-9959-54A5113E8CEA}" srcOrd="1" destOrd="0" presId="urn:microsoft.com/office/officeart/2008/layout/HorizontalMultiLevelHierarchy"/>
    <dgm:cxn modelId="{84726E20-520E-C344-88A2-E69E973B785A}" type="presParOf" srcId="{598DBB90-9C26-4C4B-AC1C-FF1827BF8D97}" destId="{B7A5E06F-5B4B-C947-BFA6-C1FA5998CE54}" srcOrd="2" destOrd="0" presId="urn:microsoft.com/office/officeart/2008/layout/HorizontalMultiLevelHierarchy"/>
    <dgm:cxn modelId="{E1D61755-F599-7A46-AD96-E7825CBA80EA}" type="presParOf" srcId="{B7A5E06F-5B4B-C947-BFA6-C1FA5998CE54}" destId="{04D949B2-6FA5-4948-B335-DDA85E4E65B1}" srcOrd="0" destOrd="0" presId="urn:microsoft.com/office/officeart/2008/layout/HorizontalMultiLevelHierarchy"/>
    <dgm:cxn modelId="{D93FB09F-34DD-6541-BFBE-66E7112BC8B3}" type="presParOf" srcId="{598DBB90-9C26-4C4B-AC1C-FF1827BF8D97}" destId="{5B0B9041-BDB4-7141-9957-0BEAFB33AEFE}" srcOrd="3" destOrd="0" presId="urn:microsoft.com/office/officeart/2008/layout/HorizontalMultiLevelHierarchy"/>
    <dgm:cxn modelId="{99076148-7A75-9F4B-B84E-B7B4260C5475}" type="presParOf" srcId="{5B0B9041-BDB4-7141-9957-0BEAFB33AEFE}" destId="{D35EA19E-870C-2F44-A620-E6B51FB20589}" srcOrd="0" destOrd="0" presId="urn:microsoft.com/office/officeart/2008/layout/HorizontalMultiLevelHierarchy"/>
    <dgm:cxn modelId="{E2C5747C-23A0-3440-8BEB-861FDA4575F5}" type="presParOf" srcId="{5B0B9041-BDB4-7141-9957-0BEAFB33AEFE}" destId="{62348515-9687-1045-ADA1-3184EC8CEC61}" srcOrd="1" destOrd="0" presId="urn:microsoft.com/office/officeart/2008/layout/HorizontalMultiLevelHierarchy"/>
    <dgm:cxn modelId="{EE431D84-DBEA-1045-904F-0CE573D8F5B6}" type="presParOf" srcId="{598DBB90-9C26-4C4B-AC1C-FF1827BF8D97}" destId="{42308E2A-E89A-524C-8598-CEBE02495F63}" srcOrd="4" destOrd="0" presId="urn:microsoft.com/office/officeart/2008/layout/HorizontalMultiLevelHierarchy"/>
    <dgm:cxn modelId="{3384919C-C939-764C-8D2C-99F323B61EE8}" type="presParOf" srcId="{42308E2A-E89A-524C-8598-CEBE02495F63}" destId="{9D34DFA2-4C7C-5642-ADF0-8F3EDFBC71AF}" srcOrd="0" destOrd="0" presId="urn:microsoft.com/office/officeart/2008/layout/HorizontalMultiLevelHierarchy"/>
    <dgm:cxn modelId="{084A0D1E-8083-C546-A529-CCE722731FB5}" type="presParOf" srcId="{598DBB90-9C26-4C4B-AC1C-FF1827BF8D97}" destId="{5A37FE29-273D-2F4A-BA74-A981AFDF7035}" srcOrd="5" destOrd="0" presId="urn:microsoft.com/office/officeart/2008/layout/HorizontalMultiLevelHierarchy"/>
    <dgm:cxn modelId="{ECDB7FDC-EBB8-6B42-9588-E2309C52038B}" type="presParOf" srcId="{5A37FE29-273D-2F4A-BA74-A981AFDF7035}" destId="{887F982A-9047-D440-AFAC-0FD9C008886A}" srcOrd="0" destOrd="0" presId="urn:microsoft.com/office/officeart/2008/layout/HorizontalMultiLevelHierarchy"/>
    <dgm:cxn modelId="{25A284FE-A121-5847-A558-595BF8678521}" type="presParOf" srcId="{5A37FE29-273D-2F4A-BA74-A981AFDF7035}" destId="{740B7AF0-357F-C843-8A5C-C85C349471AE}" srcOrd="1" destOrd="0" presId="urn:microsoft.com/office/officeart/2008/layout/HorizontalMultiLevelHierarchy"/>
    <dgm:cxn modelId="{846FCF16-57B8-9743-8481-F05D745D42BC}" type="presParOf" srcId="{598DBB90-9C26-4C4B-AC1C-FF1827BF8D97}" destId="{996189F3-00B3-7D49-A5FC-5430A26FB618}" srcOrd="6" destOrd="0" presId="urn:microsoft.com/office/officeart/2008/layout/HorizontalMultiLevelHierarchy"/>
    <dgm:cxn modelId="{819F381D-01B4-194B-8552-AE25BCAF9301}" type="presParOf" srcId="{996189F3-00B3-7D49-A5FC-5430A26FB618}" destId="{DB79995B-B315-9C4C-BCA0-97AF2CF960CD}" srcOrd="0" destOrd="0" presId="urn:microsoft.com/office/officeart/2008/layout/HorizontalMultiLevelHierarchy"/>
    <dgm:cxn modelId="{E6C48064-2889-2546-88FA-4645FB984CBC}" type="presParOf" srcId="{598DBB90-9C26-4C4B-AC1C-FF1827BF8D97}" destId="{7361FCA1-91C1-7340-94A4-772CB0377746}" srcOrd="7" destOrd="0" presId="urn:microsoft.com/office/officeart/2008/layout/HorizontalMultiLevelHierarchy"/>
    <dgm:cxn modelId="{35CEFEFB-3A96-0A4F-BB27-A7E5D70A561E}" type="presParOf" srcId="{7361FCA1-91C1-7340-94A4-772CB0377746}" destId="{9E30CAA0-C8DA-7340-9AC5-F7AFBAE25743}" srcOrd="0" destOrd="0" presId="urn:microsoft.com/office/officeart/2008/layout/HorizontalMultiLevelHierarchy"/>
    <dgm:cxn modelId="{AF9434C1-9DEA-AA41-9EB7-F86E70F83CC7}" type="presParOf" srcId="{7361FCA1-91C1-7340-94A4-772CB0377746}" destId="{75AE1B1C-8672-CF47-8665-1AE6D32AB23F}" srcOrd="1" destOrd="0" presId="urn:microsoft.com/office/officeart/2008/layout/HorizontalMultiLevelHierarchy"/>
    <dgm:cxn modelId="{D929EADC-DA77-EE4F-A487-F942A4CBC4A1}" type="presParOf" srcId="{598DBB90-9C26-4C4B-AC1C-FF1827BF8D97}" destId="{1442578F-E924-E34F-9FA5-3F4C2CF65BC9}" srcOrd="8" destOrd="0" presId="urn:microsoft.com/office/officeart/2008/layout/HorizontalMultiLevelHierarchy"/>
    <dgm:cxn modelId="{7B8E7ED5-8D20-444B-BB3C-A4C7E349687A}" type="presParOf" srcId="{1442578F-E924-E34F-9FA5-3F4C2CF65BC9}" destId="{E59B7B1E-3287-FB43-A405-2A84667315EC}" srcOrd="0" destOrd="0" presId="urn:microsoft.com/office/officeart/2008/layout/HorizontalMultiLevelHierarchy"/>
    <dgm:cxn modelId="{B98C5D47-CC92-7348-8F6C-6A93475D97FA}" type="presParOf" srcId="{598DBB90-9C26-4C4B-AC1C-FF1827BF8D97}" destId="{6188AF91-8F5E-7F4E-A0A2-13FA32167F53}" srcOrd="9" destOrd="0" presId="urn:microsoft.com/office/officeart/2008/layout/HorizontalMultiLevelHierarchy"/>
    <dgm:cxn modelId="{1E2E2CCB-1CBC-1B4D-988E-3B5E6C35D577}" type="presParOf" srcId="{6188AF91-8F5E-7F4E-A0A2-13FA32167F53}" destId="{5167760A-1265-4C43-B02A-4A72B3B39F5E}" srcOrd="0" destOrd="0" presId="urn:microsoft.com/office/officeart/2008/layout/HorizontalMultiLevelHierarchy"/>
    <dgm:cxn modelId="{6B1A5F60-F5BF-2D4D-82EE-1B2DCEA7C781}" type="presParOf" srcId="{6188AF91-8F5E-7F4E-A0A2-13FA32167F53}" destId="{21F2C295-F343-AC4A-8BE2-CFD4DAC170AE}" srcOrd="1" destOrd="0" presId="urn:microsoft.com/office/officeart/2008/layout/HorizontalMultiLevelHierarchy"/>
    <dgm:cxn modelId="{1A541DE0-2A4E-7040-9506-8FA984D81C8F}" type="presParOf" srcId="{598DBB90-9C26-4C4B-AC1C-FF1827BF8D97}" destId="{A3F719CD-4C36-CF49-B90F-B8B40A2B29DE}" srcOrd="10" destOrd="0" presId="urn:microsoft.com/office/officeart/2008/layout/HorizontalMultiLevelHierarchy"/>
    <dgm:cxn modelId="{96C2F5C0-2D29-4842-85E1-0A416E17A029}" type="presParOf" srcId="{A3F719CD-4C36-CF49-B90F-B8B40A2B29DE}" destId="{348A166D-A55E-9147-99A1-FB87A4CF61A8}" srcOrd="0" destOrd="0" presId="urn:microsoft.com/office/officeart/2008/layout/HorizontalMultiLevelHierarchy"/>
    <dgm:cxn modelId="{DE50048D-8602-CD45-9179-47BE002C9557}" type="presParOf" srcId="{598DBB90-9C26-4C4B-AC1C-FF1827BF8D97}" destId="{175E4F2C-D898-EE44-A4E7-79846E237DB4}" srcOrd="11" destOrd="0" presId="urn:microsoft.com/office/officeart/2008/layout/HorizontalMultiLevelHierarchy"/>
    <dgm:cxn modelId="{E912AE28-30FC-DD42-9E8A-C7071894D382}" type="presParOf" srcId="{175E4F2C-D898-EE44-A4E7-79846E237DB4}" destId="{921A596F-4B37-494E-B07C-17FD734C6406}" srcOrd="0" destOrd="0" presId="urn:microsoft.com/office/officeart/2008/layout/HorizontalMultiLevelHierarchy"/>
    <dgm:cxn modelId="{E9C454F0-D6CC-A740-BFFE-1C1D7AB90888}" type="presParOf" srcId="{175E4F2C-D898-EE44-A4E7-79846E237DB4}" destId="{A9D518F9-DAB2-4E45-9ECB-39AA13A01564}" srcOrd="1" destOrd="0" presId="urn:microsoft.com/office/officeart/2008/layout/HorizontalMultiLevelHierarchy"/>
    <dgm:cxn modelId="{08DA12B4-FB9E-2548-81E6-8F2BD16465F7}" type="presParOf" srcId="{598DBB90-9C26-4C4B-AC1C-FF1827BF8D97}" destId="{33DDFCA5-CC66-CC45-A430-EDF4DA53BA93}" srcOrd="12" destOrd="0" presId="urn:microsoft.com/office/officeart/2008/layout/HorizontalMultiLevelHierarchy"/>
    <dgm:cxn modelId="{50AA89B2-0B4C-E648-95E1-8DF0F24D9D5D}" type="presParOf" srcId="{33DDFCA5-CC66-CC45-A430-EDF4DA53BA93}" destId="{569810E7-365A-FB48-A979-23DA3465EF4F}" srcOrd="0" destOrd="0" presId="urn:microsoft.com/office/officeart/2008/layout/HorizontalMultiLevelHierarchy"/>
    <dgm:cxn modelId="{B160DDAF-A2A4-8242-A682-5586AFB97AE9}" type="presParOf" srcId="{598DBB90-9C26-4C4B-AC1C-FF1827BF8D97}" destId="{299D8B01-3ECB-7743-BE59-35C50BD6249A}" srcOrd="13" destOrd="0" presId="urn:microsoft.com/office/officeart/2008/layout/HorizontalMultiLevelHierarchy"/>
    <dgm:cxn modelId="{12E8502D-09F7-0C4E-ADCF-ADF0016FB51B}" type="presParOf" srcId="{299D8B01-3ECB-7743-BE59-35C50BD6249A}" destId="{03DEAF18-EC72-C047-A9B4-C65BE189F02C}" srcOrd="0" destOrd="0" presId="urn:microsoft.com/office/officeart/2008/layout/HorizontalMultiLevelHierarchy"/>
    <dgm:cxn modelId="{A7B69EC5-9C01-3541-BE2B-BC5F7B50379E}" type="presParOf" srcId="{299D8B01-3ECB-7743-BE59-35C50BD6249A}" destId="{322C5A5A-9E25-6047-BB00-4DF750E135CE}" srcOrd="1" destOrd="0" presId="urn:microsoft.com/office/officeart/2008/layout/HorizontalMultiLevelHierarchy"/>
    <dgm:cxn modelId="{AD529C97-472C-9443-9456-70B4FFCAD9B5}" type="presParOf" srcId="{322C5A5A-9E25-6047-BB00-4DF750E135CE}" destId="{393A7F55-569D-7A48-ACE0-063418018375}" srcOrd="0" destOrd="0" presId="urn:microsoft.com/office/officeart/2008/layout/HorizontalMultiLevelHierarchy"/>
    <dgm:cxn modelId="{C5EF5E72-2703-E448-8B20-64A88B71C511}" type="presParOf" srcId="{393A7F55-569D-7A48-ACE0-063418018375}" destId="{A635BF91-C219-EB46-A0CA-F8A2CE3D7BF3}" srcOrd="0" destOrd="0" presId="urn:microsoft.com/office/officeart/2008/layout/HorizontalMultiLevelHierarchy"/>
    <dgm:cxn modelId="{6F075EE5-AA15-FE45-8368-D39B1993D77D}" type="presParOf" srcId="{322C5A5A-9E25-6047-BB00-4DF750E135CE}" destId="{55918953-A6CF-814A-89F9-551623EBC010}" srcOrd="1" destOrd="0" presId="urn:microsoft.com/office/officeart/2008/layout/HorizontalMultiLevelHierarchy"/>
    <dgm:cxn modelId="{F00CB587-C032-E049-93FD-DA4FF3F4068B}" type="presParOf" srcId="{55918953-A6CF-814A-89F9-551623EBC010}" destId="{448042B3-2CED-424C-815C-8FD3B3AD8A39}" srcOrd="0" destOrd="0" presId="urn:microsoft.com/office/officeart/2008/layout/HorizontalMultiLevelHierarchy"/>
    <dgm:cxn modelId="{A34B4313-B774-574F-8F57-729CA22C9EA9}" type="presParOf" srcId="{55918953-A6CF-814A-89F9-551623EBC010}" destId="{4C59A0B4-1525-104C-AAB2-E79163983336}" srcOrd="1" destOrd="0" presId="urn:microsoft.com/office/officeart/2008/layout/HorizontalMultiLevelHierarchy"/>
    <dgm:cxn modelId="{D748DBD2-4F6D-BA4D-BB21-660772BA3A5D}" type="presParOf" srcId="{322C5A5A-9E25-6047-BB00-4DF750E135CE}" destId="{64F502CF-3E90-0B4E-886C-91AB3F51938D}" srcOrd="2" destOrd="0" presId="urn:microsoft.com/office/officeart/2008/layout/HorizontalMultiLevelHierarchy"/>
    <dgm:cxn modelId="{E10C673F-D473-0848-8862-8D92CADBD3FB}" type="presParOf" srcId="{64F502CF-3E90-0B4E-886C-91AB3F51938D}" destId="{6FA82A28-C585-714B-9AF5-DA995FB3DF53}" srcOrd="0" destOrd="0" presId="urn:microsoft.com/office/officeart/2008/layout/HorizontalMultiLevelHierarchy"/>
    <dgm:cxn modelId="{144444FB-0E32-574D-B2CD-BC2EC1A5954C}" type="presParOf" srcId="{322C5A5A-9E25-6047-BB00-4DF750E135CE}" destId="{EC8B6A62-9FAE-5045-A1A4-029DC2356DF7}" srcOrd="3" destOrd="0" presId="urn:microsoft.com/office/officeart/2008/layout/HorizontalMultiLevelHierarchy"/>
    <dgm:cxn modelId="{AC69E4D6-B520-E445-9A40-24EA3BB8CF25}" type="presParOf" srcId="{EC8B6A62-9FAE-5045-A1A4-029DC2356DF7}" destId="{F9B786D6-8B73-AC47-BEA7-3780A17C3E39}" srcOrd="0" destOrd="0" presId="urn:microsoft.com/office/officeart/2008/layout/HorizontalMultiLevelHierarchy"/>
    <dgm:cxn modelId="{41576917-6292-5D4A-9762-1B54B0C77E63}" type="presParOf" srcId="{EC8B6A62-9FAE-5045-A1A4-029DC2356DF7}" destId="{6E27147E-0C63-E041-AB6B-5C0E60851726}" srcOrd="1" destOrd="0" presId="urn:microsoft.com/office/officeart/2008/layout/HorizontalMultiLevelHierarchy"/>
    <dgm:cxn modelId="{D3D36F1B-04F0-934E-93DE-AB9054E5AE7B}" type="presParOf" srcId="{598DBB90-9C26-4C4B-AC1C-FF1827BF8D97}" destId="{60914178-E972-6747-98A5-9B1042D21399}" srcOrd="14" destOrd="0" presId="urn:microsoft.com/office/officeart/2008/layout/HorizontalMultiLevelHierarchy"/>
    <dgm:cxn modelId="{885E577F-E511-2B48-851C-6345AC3DD678}" type="presParOf" srcId="{60914178-E972-6747-98A5-9B1042D21399}" destId="{03FF4E40-A0E8-E040-A52F-D68379DCC349}" srcOrd="0" destOrd="0" presId="urn:microsoft.com/office/officeart/2008/layout/HorizontalMultiLevelHierarchy"/>
    <dgm:cxn modelId="{7A767E11-ED19-F040-B188-DDDD9F3B906F}" type="presParOf" srcId="{598DBB90-9C26-4C4B-AC1C-FF1827BF8D97}" destId="{82D22835-936A-1D4B-AF7A-2D86C6FB8621}" srcOrd="15" destOrd="0" presId="urn:microsoft.com/office/officeart/2008/layout/HorizontalMultiLevelHierarchy"/>
    <dgm:cxn modelId="{4721D761-A060-964C-8DD2-907A74CAB6B8}" type="presParOf" srcId="{82D22835-936A-1D4B-AF7A-2D86C6FB8621}" destId="{4D444EFA-484D-8B49-B53F-73AE5DAC83CB}" srcOrd="0" destOrd="0" presId="urn:microsoft.com/office/officeart/2008/layout/HorizontalMultiLevelHierarchy"/>
    <dgm:cxn modelId="{9B72BD1E-5D6E-2346-9069-52C327F9EB69}" type="presParOf" srcId="{82D22835-936A-1D4B-AF7A-2D86C6FB8621}" destId="{780003EA-E55D-2544-948D-2BA68EB5F8A9}" srcOrd="1" destOrd="0" presId="urn:microsoft.com/office/officeart/2008/layout/HorizontalMultiLevelHierarchy"/>
    <dgm:cxn modelId="{899FF575-1810-4D4E-AC50-ABE442A54C62}" type="presParOf" srcId="{598DBB90-9C26-4C4B-AC1C-FF1827BF8D97}" destId="{91975744-72FE-E947-98E3-ECF3B2E7C3DC}" srcOrd="16" destOrd="0" presId="urn:microsoft.com/office/officeart/2008/layout/HorizontalMultiLevelHierarchy"/>
    <dgm:cxn modelId="{F4B6A6CC-60F4-6B4D-85C4-E3BFF0DA6867}" type="presParOf" srcId="{91975744-72FE-E947-98E3-ECF3B2E7C3DC}" destId="{7C4C248C-9225-884B-A9F0-E626AEAE24C9}" srcOrd="0" destOrd="0" presId="urn:microsoft.com/office/officeart/2008/layout/HorizontalMultiLevelHierarchy"/>
    <dgm:cxn modelId="{85B808C1-00EF-B64C-9084-8B67B94858BF}" type="presParOf" srcId="{598DBB90-9C26-4C4B-AC1C-FF1827BF8D97}" destId="{FD91877E-03C5-8D41-B768-0E4703294F6C}" srcOrd="17" destOrd="0" presId="urn:microsoft.com/office/officeart/2008/layout/HorizontalMultiLevelHierarchy"/>
    <dgm:cxn modelId="{077026F8-CADF-5849-B479-E2F93B2C16CF}" type="presParOf" srcId="{FD91877E-03C5-8D41-B768-0E4703294F6C}" destId="{73B69BAE-7567-8E4E-A9B2-D2862F6B978E}" srcOrd="0" destOrd="0" presId="urn:microsoft.com/office/officeart/2008/layout/HorizontalMultiLevelHierarchy"/>
    <dgm:cxn modelId="{53F44DE0-7ABE-164E-9D51-D3F53FDB0031}" type="presParOf" srcId="{FD91877E-03C5-8D41-B768-0E4703294F6C}" destId="{27C85358-980A-884D-9DDA-63018758070E}" srcOrd="1" destOrd="0" presId="urn:microsoft.com/office/officeart/2008/layout/HorizontalMultiLevelHierarchy"/>
    <dgm:cxn modelId="{A617A32F-5288-BF42-A1B5-90C57C1CFD1C}" type="presParOf" srcId="{27C85358-980A-884D-9DDA-63018758070E}" destId="{55365CED-83D4-194F-A914-2CFC37CD9B45}" srcOrd="0" destOrd="0" presId="urn:microsoft.com/office/officeart/2008/layout/HorizontalMultiLevelHierarchy"/>
    <dgm:cxn modelId="{E37917A5-3517-544A-9BC7-CFDC42C744BB}" type="presParOf" srcId="{55365CED-83D4-194F-A914-2CFC37CD9B45}" destId="{12E46C15-0F90-7843-8745-7EFB583D5A38}" srcOrd="0" destOrd="0" presId="urn:microsoft.com/office/officeart/2008/layout/HorizontalMultiLevelHierarchy"/>
    <dgm:cxn modelId="{97A2962F-A794-764F-A3BE-8A5EBDC2168A}" type="presParOf" srcId="{27C85358-980A-884D-9DDA-63018758070E}" destId="{76889E03-95A4-234A-BE0C-87E6CEF02D37}" srcOrd="1" destOrd="0" presId="urn:microsoft.com/office/officeart/2008/layout/HorizontalMultiLevelHierarchy"/>
    <dgm:cxn modelId="{99C0E959-8E54-3148-8B48-55D9F0F21A77}" type="presParOf" srcId="{76889E03-95A4-234A-BE0C-87E6CEF02D37}" destId="{21C89BDE-E13D-974B-B17D-6B6CDBB2C8DB}" srcOrd="0" destOrd="0" presId="urn:microsoft.com/office/officeart/2008/layout/HorizontalMultiLevelHierarchy"/>
    <dgm:cxn modelId="{CBAEB721-8106-FD40-81E3-EB8566A7FD45}" type="presParOf" srcId="{76889E03-95A4-234A-BE0C-87E6CEF02D37}" destId="{FB25556A-79E0-D042-8EE4-421CC8CFEFD5}" srcOrd="1" destOrd="0" presId="urn:microsoft.com/office/officeart/2008/layout/HorizontalMultiLevelHierarchy"/>
    <dgm:cxn modelId="{88953417-75E0-7E4B-838B-D80FAB9E7C1C}" type="presParOf" srcId="{27C85358-980A-884D-9DDA-63018758070E}" destId="{2242491C-75CB-654B-ABCA-74AF8E25B4E8}" srcOrd="2" destOrd="0" presId="urn:microsoft.com/office/officeart/2008/layout/HorizontalMultiLevelHierarchy"/>
    <dgm:cxn modelId="{7796C0D7-781D-FE4F-8712-86634ABDC1A8}" type="presParOf" srcId="{2242491C-75CB-654B-ABCA-74AF8E25B4E8}" destId="{62990B64-CF79-7146-BF7B-48A759C6E310}" srcOrd="0" destOrd="0" presId="urn:microsoft.com/office/officeart/2008/layout/HorizontalMultiLevelHierarchy"/>
    <dgm:cxn modelId="{7E220D33-1772-BC40-941E-554C942BB43A}" type="presParOf" srcId="{27C85358-980A-884D-9DDA-63018758070E}" destId="{34BC8C0B-A669-9B42-82AD-78E158ADEE5B}" srcOrd="3" destOrd="0" presId="urn:microsoft.com/office/officeart/2008/layout/HorizontalMultiLevelHierarchy"/>
    <dgm:cxn modelId="{F1A6026F-DA28-8E4C-9785-5DFB9A418F5B}" type="presParOf" srcId="{34BC8C0B-A669-9B42-82AD-78E158ADEE5B}" destId="{84732D04-01E1-2742-A082-1195BCDCDEC2}" srcOrd="0" destOrd="0" presId="urn:microsoft.com/office/officeart/2008/layout/HorizontalMultiLevelHierarchy"/>
    <dgm:cxn modelId="{0752D232-B3EF-7944-9D9B-339A1168AE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55C2C2-CBF8-AE41-8A06-FF1183A65C22}" type="presOf" srcId="{5ADEDBF8-717E-F946-B11E-4CC50D9988C8}" destId="{D778007E-9974-2C41-910F-E1E5562B090A}" srcOrd="0" destOrd="0" presId="urn:microsoft.com/office/officeart/2008/layout/HorizontalMultiLevelHierarchy"/>
    <dgm:cxn modelId="{5F5C7EA2-8E22-6B4B-8276-930EF1ED0196}" type="presOf" srcId="{26144DC7-9794-3E4B-BF8F-331E25884D5F}" destId="{921A596F-4B37-494E-B07C-17FD734C6406}" srcOrd="0" destOrd="0" presId="urn:microsoft.com/office/officeart/2008/layout/HorizontalMultiLevelHierarchy"/>
    <dgm:cxn modelId="{7328C2FC-4942-5B4A-9577-6D044FE21ED9}" type="presOf" srcId="{BA9C693C-1CF5-6E4E-A8C4-1E304AFD6DF5}" destId="{99E936FD-8649-9640-96D2-9202E1CEC417}" srcOrd="0" destOrd="0" presId="urn:microsoft.com/office/officeart/2008/layout/HorizontalMultiLevelHierarchy"/>
    <dgm:cxn modelId="{09949F01-E70C-EA46-B1DB-2EF6752DA894}" type="presOf" srcId="{6577C284-4D20-2C4A-88D4-29EB6FEAC9C2}" destId="{A3F719CD-4C36-CF49-B90F-B8B40A2B29DE}" srcOrd="0" destOrd="0" presId="urn:microsoft.com/office/officeart/2008/layout/HorizontalMultiLevelHierarchy"/>
    <dgm:cxn modelId="{6FEAB1E4-5DA7-7541-B66E-CE30E63B914A}" type="presOf" srcId="{436C1B23-A07F-9344-ADAB-98173723FB7F}" destId="{B541F6A1-B2AA-7447-8E11-AC7AA5D5D50B}" srcOrd="0" destOrd="0" presId="urn:microsoft.com/office/officeart/2008/layout/HorizontalMultiLevelHierarchy"/>
    <dgm:cxn modelId="{E1952968-3DC5-9241-B409-0E7F8B7BE95E}" type="presOf" srcId="{08733529-A5F0-F14D-8E75-74214329B040}" destId="{393A7F55-569D-7A48-ACE0-063418018375}" srcOrd="0" destOrd="0" presId="urn:microsoft.com/office/officeart/2008/layout/HorizontalMultiLevelHierarchy"/>
    <dgm:cxn modelId="{80982C47-ABB4-124F-BC14-2F74C23042AF}" type="presOf" srcId="{B8771036-12B2-D843-AA17-BB631BA3F87D}" destId="{F9B786D6-8B73-AC47-BEA7-3780A17C3E39}" srcOrd="0" destOrd="0" presId="urn:microsoft.com/office/officeart/2008/layout/HorizontalMultiLevelHierarchy"/>
    <dgm:cxn modelId="{AB35BDAE-E41B-7242-83DF-8BFE8E082B5F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D9D8FE8-82FE-0E46-852B-C4F34F87315D}" type="presOf" srcId="{6577C284-4D20-2C4A-88D4-29EB6FEAC9C2}" destId="{348A166D-A55E-9147-99A1-FB87A4CF61A8}" srcOrd="1" destOrd="0" presId="urn:microsoft.com/office/officeart/2008/layout/HorizontalMultiLevelHierarchy"/>
    <dgm:cxn modelId="{89803054-816A-8F40-8127-13BAA068878B}" type="presOf" srcId="{E543121D-95F7-3E47-B964-B7B948211EBC}" destId="{2C1F9B08-4495-8146-8974-2654E99B2E9A}" srcOrd="0" destOrd="0" presId="urn:microsoft.com/office/officeart/2008/layout/HorizontalMultiLevelHierarchy"/>
    <dgm:cxn modelId="{68773DEA-FE74-5543-929D-78920076CD1A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201AE3F-2865-4C49-B9C2-F388F5ED3F30}" type="presOf" srcId="{C24B2AD7-9651-4B45-A8F4-0314EA8D4874}" destId="{8AD8F429-D3CB-F748-A62E-81D3E0DD1FE1}" srcOrd="0" destOrd="0" presId="urn:microsoft.com/office/officeart/2008/layout/HorizontalMultiLevelHierarchy"/>
    <dgm:cxn modelId="{88FB37E3-E062-DB41-8C25-D977DD5EA75B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A1402AE-C7C7-D449-9F1F-50D3E68FD41D}" type="presOf" srcId="{488E1B12-EE7C-9246-8169-00D4E05307C4}" destId="{5E781A07-1968-A143-88EC-827822313B55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A6848D4-093C-584D-854D-EC32BA35FE96}" type="presOf" srcId="{63D1AE09-4F57-A443-A1FD-2A3034962097}" destId="{04D949B2-6FA5-4948-B335-DDA85E4E65B1}" srcOrd="1" destOrd="0" presId="urn:microsoft.com/office/officeart/2008/layout/HorizontalMultiLevelHierarchy"/>
    <dgm:cxn modelId="{8FA1D8A4-BC60-884D-BD21-7F2FFF566EDA}" type="presOf" srcId="{C0976C3D-B466-7D45-ABFB-2E3685B2F19C}" destId="{D35EA19E-870C-2F44-A620-E6B51FB20589}" srcOrd="0" destOrd="0" presId="urn:microsoft.com/office/officeart/2008/layout/HorizontalMultiLevelHierarchy"/>
    <dgm:cxn modelId="{B59ED080-49FA-A64A-A357-081ACE124A98}" type="presOf" srcId="{5E2A7D5A-EFB6-9C4F-A960-3D6903C39497}" destId="{E59B7B1E-3287-FB43-A405-2A84667315EC}" srcOrd="1" destOrd="0" presId="urn:microsoft.com/office/officeart/2008/layout/HorizontalMultiLevelHierarchy"/>
    <dgm:cxn modelId="{4E67B4C7-C638-164D-98A3-EEF0A74F91E4}" type="presOf" srcId="{BBD19103-9913-2A49-AB85-F021773D5328}" destId="{6FA82A28-C585-714B-9AF5-DA995FB3DF53}" srcOrd="1" destOrd="0" presId="urn:microsoft.com/office/officeart/2008/layout/HorizontalMultiLevelHierarchy"/>
    <dgm:cxn modelId="{2DC60271-4676-444D-AD11-9DB726591B14}" type="presOf" srcId="{E543121D-95F7-3E47-B964-B7B948211EBC}" destId="{C9D429FE-9539-9D4A-9750-F9C781598EC4}" srcOrd="1" destOrd="0" presId="urn:microsoft.com/office/officeart/2008/layout/HorizontalMultiLevelHierarchy"/>
    <dgm:cxn modelId="{39CA5FCB-1A56-7846-AA1F-B4C4AFDE13D6}" type="presOf" srcId="{EF2BFDE9-4D1F-3049-B62C-65BE59459C50}" destId="{5167760A-1265-4C43-B02A-4A72B3B39F5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EEAC743-3AA2-B34B-A48B-B966495C446B}" type="presOf" srcId="{5E2A7D5A-EFB6-9C4F-A960-3D6903C39497}" destId="{1442578F-E924-E34F-9FA5-3F4C2CF65BC9}" srcOrd="0" destOrd="0" presId="urn:microsoft.com/office/officeart/2008/layout/HorizontalMultiLevelHierarchy"/>
    <dgm:cxn modelId="{55CE0DD8-713C-0A4A-8362-46013494707D}" type="presOf" srcId="{63D1AE09-4F57-A443-A1FD-2A3034962097}" destId="{B7A5E06F-5B4B-C947-BFA6-C1FA5998CE54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80A1BD6-FA6C-194A-8AB2-12E290516A56}" type="presOf" srcId="{75291F63-6D2A-BA4D-9808-5F545EE4CCF0}" destId="{9FB8B136-71A7-D34F-B7EB-BD8FC5C96ECE}" srcOrd="0" destOrd="0" presId="urn:microsoft.com/office/officeart/2008/layout/HorizontalMultiLevelHierarchy"/>
    <dgm:cxn modelId="{689085DF-B066-CF47-873C-3DFA8E38B35E}" type="presOf" srcId="{859769CA-042B-6244-840F-75AE1403619A}" destId="{4E546A01-1907-BB4F-B534-4E81DE6081F4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649669D-61C5-C646-85D6-965F27F59DD6}" type="presOf" srcId="{990267CF-EA89-A240-9514-9AFC12BBADEE}" destId="{03DEAF18-EC72-C047-A9B4-C65BE189F02C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D132E70-F222-B644-A6F5-E73957C2D55B}" type="presOf" srcId="{134C8002-4160-B046-917F-B9172D6D011E}" destId="{569810E7-365A-FB48-A979-23DA3465EF4F}" srcOrd="1" destOrd="0" presId="urn:microsoft.com/office/officeart/2008/layout/HorizontalMultiLevelHierarchy"/>
    <dgm:cxn modelId="{D3AC796D-8498-9B41-8F00-0B4867F04A32}" type="presOf" srcId="{7E0C02E8-17C2-874D-B6DE-8E3A1D3437C9}" destId="{448042B3-2CED-424C-815C-8FD3B3AD8A39}" srcOrd="0" destOrd="0" presId="urn:microsoft.com/office/officeart/2008/layout/HorizontalMultiLevelHierarchy"/>
    <dgm:cxn modelId="{B8408D80-F394-A04E-A6AD-8F2929DA9D1A}" type="presOf" srcId="{5ADEDBF8-717E-F946-B11E-4CC50D9988C8}" destId="{AB33012A-8C54-6245-96E8-E0111C081E33}" srcOrd="1" destOrd="0" presId="urn:microsoft.com/office/officeart/2008/layout/HorizontalMultiLevelHierarchy"/>
    <dgm:cxn modelId="{930F23FC-BD3D-6D43-8D7F-18FD34335C4C}" type="presOf" srcId="{C24B2AD7-9651-4B45-A8F4-0314EA8D4874}" destId="{27DD3461-0240-774A-8774-CC1A00541B61}" srcOrd="1" destOrd="0" presId="urn:microsoft.com/office/officeart/2008/layout/HorizontalMultiLevelHierarchy"/>
    <dgm:cxn modelId="{BB944B47-4256-D946-9AF1-E66037A2EB9C}" type="presOf" srcId="{BBD19103-9913-2A49-AB85-F021773D5328}" destId="{64F502CF-3E90-0B4E-886C-91AB3F51938D}" srcOrd="0" destOrd="0" presId="urn:microsoft.com/office/officeart/2008/layout/HorizontalMultiLevelHierarchy"/>
    <dgm:cxn modelId="{EE6806A8-667E-B14C-ABEB-D9E406BF82A2}" type="presOf" srcId="{8BC59F7D-94BF-3B43-BF5D-5485F4809DAD}" destId="{6D977B4C-E88D-6044-A647-A6CC29747BE1}" srcOrd="0" destOrd="0" presId="urn:microsoft.com/office/officeart/2008/layout/HorizontalMultiLevelHierarchy"/>
    <dgm:cxn modelId="{04CE2C7F-76AF-0F44-9131-500E50ED809D}" type="presOf" srcId="{78A64519-4827-364C-A275-D5C68A949ADD}" destId="{33CE7315-72E8-4545-9EC6-56F4D0BEC64D}" srcOrd="0" destOrd="0" presId="urn:microsoft.com/office/officeart/2008/layout/HorizontalMultiLevelHierarchy"/>
    <dgm:cxn modelId="{1A64774B-E3AB-DC4C-B9E9-50857CF3E3AD}" type="presOf" srcId="{436C1B23-A07F-9344-ADAB-98173723FB7F}" destId="{0637CC4E-4D30-724B-9FFD-C7AED88FB068}" srcOrd="1" destOrd="0" presId="urn:microsoft.com/office/officeart/2008/layout/HorizontalMultiLevelHierarchy"/>
    <dgm:cxn modelId="{842C4300-A987-5B48-967D-72D27BD65035}" type="presOf" srcId="{134C8002-4160-B046-917F-B9172D6D011E}" destId="{33DDFCA5-CC66-CC45-A430-EDF4DA53BA93}" srcOrd="0" destOrd="0" presId="urn:microsoft.com/office/officeart/2008/layout/HorizontalMultiLevelHierarchy"/>
    <dgm:cxn modelId="{FD40492F-4E5A-9244-85AB-AA254B0285BF}" type="presOf" srcId="{8BC59F7D-94BF-3B43-BF5D-5485F4809DAD}" destId="{756F0DD8-11FC-8647-8FC8-7AAB634C5717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125C31D-B5AA-A94D-8C73-BCC0942DE479}" type="presOf" srcId="{9EB1846C-ABB5-9E44-B030-7BE73C498E59}" destId="{03FF4E40-A0E8-E040-A52F-D68379DCC349}" srcOrd="1" destOrd="0" presId="urn:microsoft.com/office/officeart/2008/layout/HorizontalMultiLevelHierarchy"/>
    <dgm:cxn modelId="{1A433D48-4138-424E-8764-9229F9E1B930}" type="presOf" srcId="{9EB1846C-ABB5-9E44-B030-7BE73C498E59}" destId="{60914178-E972-6747-98A5-9B1042D2139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5BA8F0E-331A-A94F-BB9A-7F53045774BF}" type="presOf" srcId="{08733529-A5F0-F14D-8E75-74214329B040}" destId="{A635BF91-C219-EB46-A0CA-F8A2CE3D7BF3}" srcOrd="1" destOrd="0" presId="urn:microsoft.com/office/officeart/2008/layout/HorizontalMultiLevelHierarchy"/>
    <dgm:cxn modelId="{3BA4346E-8420-FF42-82DA-FCA817B5EF2C}" type="presParOf" srcId="{613226CB-11A4-C549-82A6-64B9BCFE1002}" destId="{3BA40406-1E55-1642-A22A-B49F5A173AC8}" srcOrd="0" destOrd="0" presId="urn:microsoft.com/office/officeart/2008/layout/HorizontalMultiLevelHierarchy"/>
    <dgm:cxn modelId="{28A662E7-50CD-9644-A065-A5F47992B40F}" type="presParOf" srcId="{3BA40406-1E55-1642-A22A-B49F5A173AC8}" destId="{99E936FD-8649-9640-96D2-9202E1CEC417}" srcOrd="0" destOrd="0" presId="urn:microsoft.com/office/officeart/2008/layout/HorizontalMultiLevelHierarchy"/>
    <dgm:cxn modelId="{446ABBDE-991F-3641-90CA-4964D74FA2A2}" type="presParOf" srcId="{3BA40406-1E55-1642-A22A-B49F5A173AC8}" destId="{598DBB90-9C26-4C4B-AC1C-FF1827BF8D97}" srcOrd="1" destOrd="0" presId="urn:microsoft.com/office/officeart/2008/layout/HorizontalMultiLevelHierarchy"/>
    <dgm:cxn modelId="{39E5AF8B-017B-684C-8BAA-A226A08AB468}" type="presParOf" srcId="{598DBB90-9C26-4C4B-AC1C-FF1827BF8D97}" destId="{D778007E-9974-2C41-910F-E1E5562B090A}" srcOrd="0" destOrd="0" presId="urn:microsoft.com/office/officeart/2008/layout/HorizontalMultiLevelHierarchy"/>
    <dgm:cxn modelId="{5A16AAC1-A534-EB45-B960-0A59CD2D5756}" type="presParOf" srcId="{D778007E-9974-2C41-910F-E1E5562B090A}" destId="{AB33012A-8C54-6245-96E8-E0111C081E33}" srcOrd="0" destOrd="0" presId="urn:microsoft.com/office/officeart/2008/layout/HorizontalMultiLevelHierarchy"/>
    <dgm:cxn modelId="{2AD120F0-0B9A-C647-BE14-CF9A1574CBB8}" type="presParOf" srcId="{598DBB90-9C26-4C4B-AC1C-FF1827BF8D97}" destId="{BCA6FE17-8DB6-0242-A6E4-C7D3971EBD97}" srcOrd="1" destOrd="0" presId="urn:microsoft.com/office/officeart/2008/layout/HorizontalMultiLevelHierarchy"/>
    <dgm:cxn modelId="{88F12949-2A42-AA4B-8052-3743B6590925}" type="presParOf" srcId="{BCA6FE17-8DB6-0242-A6E4-C7D3971EBD97}" destId="{5E781A07-1968-A143-88EC-827822313B55}" srcOrd="0" destOrd="0" presId="urn:microsoft.com/office/officeart/2008/layout/HorizontalMultiLevelHierarchy"/>
    <dgm:cxn modelId="{8B73E59F-3E32-9F40-A040-43FD49E81058}" type="presParOf" srcId="{BCA6FE17-8DB6-0242-A6E4-C7D3971EBD97}" destId="{BDDED42C-20CE-EF4E-85AA-7830E9428B23}" srcOrd="1" destOrd="0" presId="urn:microsoft.com/office/officeart/2008/layout/HorizontalMultiLevelHierarchy"/>
    <dgm:cxn modelId="{E9587913-59AD-084B-94FA-8613D751687F}" type="presParOf" srcId="{598DBB90-9C26-4C4B-AC1C-FF1827BF8D97}" destId="{B7A5E06F-5B4B-C947-BFA6-C1FA5998CE54}" srcOrd="2" destOrd="0" presId="urn:microsoft.com/office/officeart/2008/layout/HorizontalMultiLevelHierarchy"/>
    <dgm:cxn modelId="{2AD263DC-CFA4-6D43-AC0E-30C6C2EB8908}" type="presParOf" srcId="{B7A5E06F-5B4B-C947-BFA6-C1FA5998CE54}" destId="{04D949B2-6FA5-4948-B335-DDA85E4E65B1}" srcOrd="0" destOrd="0" presId="urn:microsoft.com/office/officeart/2008/layout/HorizontalMultiLevelHierarchy"/>
    <dgm:cxn modelId="{DF5DDF7D-544F-8A46-88A1-8952AF7A6E67}" type="presParOf" srcId="{598DBB90-9C26-4C4B-AC1C-FF1827BF8D97}" destId="{5B0B9041-BDB4-7141-9957-0BEAFB33AEFE}" srcOrd="3" destOrd="0" presId="urn:microsoft.com/office/officeart/2008/layout/HorizontalMultiLevelHierarchy"/>
    <dgm:cxn modelId="{79ED23BA-952C-1047-824F-90875D70D8BB}" type="presParOf" srcId="{5B0B9041-BDB4-7141-9957-0BEAFB33AEFE}" destId="{D35EA19E-870C-2F44-A620-E6B51FB20589}" srcOrd="0" destOrd="0" presId="urn:microsoft.com/office/officeart/2008/layout/HorizontalMultiLevelHierarchy"/>
    <dgm:cxn modelId="{2430BCBA-71B1-0140-93E3-A9F1C7732CF1}" type="presParOf" srcId="{5B0B9041-BDB4-7141-9957-0BEAFB33AEFE}" destId="{62348515-9687-1045-ADA1-3184EC8CEC61}" srcOrd="1" destOrd="0" presId="urn:microsoft.com/office/officeart/2008/layout/HorizontalMultiLevelHierarchy"/>
    <dgm:cxn modelId="{E15BA6FE-21A0-7042-90FF-4CDDB8466361}" type="presParOf" srcId="{62348515-9687-1045-ADA1-3184EC8CEC61}" destId="{B541F6A1-B2AA-7447-8E11-AC7AA5D5D50B}" srcOrd="0" destOrd="0" presId="urn:microsoft.com/office/officeart/2008/layout/HorizontalMultiLevelHierarchy"/>
    <dgm:cxn modelId="{17267C98-BD49-D14C-872E-D4A79025CFC8}" type="presParOf" srcId="{B541F6A1-B2AA-7447-8E11-AC7AA5D5D50B}" destId="{0637CC4E-4D30-724B-9FFD-C7AED88FB068}" srcOrd="0" destOrd="0" presId="urn:microsoft.com/office/officeart/2008/layout/HorizontalMultiLevelHierarchy"/>
    <dgm:cxn modelId="{C20613BF-02A3-B648-8CD1-B49920B2CF91}" type="presParOf" srcId="{62348515-9687-1045-ADA1-3184EC8CEC61}" destId="{CA3C244E-E149-0742-ACEF-44B7ECE83631}" srcOrd="1" destOrd="0" presId="urn:microsoft.com/office/officeart/2008/layout/HorizontalMultiLevelHierarchy"/>
    <dgm:cxn modelId="{B412A463-8F28-3F4C-8D22-3FD7240D14C7}" type="presParOf" srcId="{CA3C244E-E149-0742-ACEF-44B7ECE83631}" destId="{9FB8B136-71A7-D34F-B7EB-BD8FC5C96ECE}" srcOrd="0" destOrd="0" presId="urn:microsoft.com/office/officeart/2008/layout/HorizontalMultiLevelHierarchy"/>
    <dgm:cxn modelId="{BD9ADD64-3060-A844-BC34-7FED09B0348B}" type="presParOf" srcId="{CA3C244E-E149-0742-ACEF-44B7ECE83631}" destId="{9B46DB51-FCC5-AC41-BECD-E28037B564D0}" srcOrd="1" destOrd="0" presId="urn:microsoft.com/office/officeart/2008/layout/HorizontalMultiLevelHierarchy"/>
    <dgm:cxn modelId="{C6F59B25-9465-1F4A-B384-9F5A2DDC3EEA}" type="presParOf" srcId="{62348515-9687-1045-ADA1-3184EC8CEC61}" destId="{2C1F9B08-4495-8146-8974-2654E99B2E9A}" srcOrd="2" destOrd="0" presId="urn:microsoft.com/office/officeart/2008/layout/HorizontalMultiLevelHierarchy"/>
    <dgm:cxn modelId="{F891443F-F5E8-BC49-B8A1-74215C040442}" type="presParOf" srcId="{2C1F9B08-4495-8146-8974-2654E99B2E9A}" destId="{C9D429FE-9539-9D4A-9750-F9C781598EC4}" srcOrd="0" destOrd="0" presId="urn:microsoft.com/office/officeart/2008/layout/HorizontalMultiLevelHierarchy"/>
    <dgm:cxn modelId="{CC849CDA-DE61-7347-AB7C-565E8256B3DB}" type="presParOf" srcId="{62348515-9687-1045-ADA1-3184EC8CEC61}" destId="{7F107BC0-209A-4C42-BEA6-B6817D5C9E09}" srcOrd="3" destOrd="0" presId="urn:microsoft.com/office/officeart/2008/layout/HorizontalMultiLevelHierarchy"/>
    <dgm:cxn modelId="{BD551A39-CAAC-5A47-B741-608AA59820B0}" type="presParOf" srcId="{7F107BC0-209A-4C42-BEA6-B6817D5C9E09}" destId="{4E546A01-1907-BB4F-B534-4E81DE6081F4}" srcOrd="0" destOrd="0" presId="urn:microsoft.com/office/officeart/2008/layout/HorizontalMultiLevelHierarchy"/>
    <dgm:cxn modelId="{A7765CBC-4B25-744D-9911-222EAFE4A108}" type="presParOf" srcId="{7F107BC0-209A-4C42-BEA6-B6817D5C9E09}" destId="{F5393339-32D0-CE4B-9AAA-4B6A114FA39A}" srcOrd="1" destOrd="0" presId="urn:microsoft.com/office/officeart/2008/layout/HorizontalMultiLevelHierarchy"/>
    <dgm:cxn modelId="{50388C2F-063B-B846-9272-36449A74BB74}" type="presParOf" srcId="{62348515-9687-1045-ADA1-3184EC8CEC61}" destId="{6D977B4C-E88D-6044-A647-A6CC29747BE1}" srcOrd="4" destOrd="0" presId="urn:microsoft.com/office/officeart/2008/layout/HorizontalMultiLevelHierarchy"/>
    <dgm:cxn modelId="{7A30B3B0-9DBF-1848-829D-000003C2A096}" type="presParOf" srcId="{6D977B4C-E88D-6044-A647-A6CC29747BE1}" destId="{756F0DD8-11FC-8647-8FC8-7AAB634C5717}" srcOrd="0" destOrd="0" presId="urn:microsoft.com/office/officeart/2008/layout/HorizontalMultiLevelHierarchy"/>
    <dgm:cxn modelId="{3ADAC610-EFE5-5B46-8C1F-618485D72CC6}" type="presParOf" srcId="{62348515-9687-1045-ADA1-3184EC8CEC61}" destId="{BAA197B9-40F5-1D46-A384-973DDEA5160C}" srcOrd="5" destOrd="0" presId="urn:microsoft.com/office/officeart/2008/layout/HorizontalMultiLevelHierarchy"/>
    <dgm:cxn modelId="{9ABB9ED6-74B8-6742-BB0C-1E8167F7F0B3}" type="presParOf" srcId="{BAA197B9-40F5-1D46-A384-973DDEA5160C}" destId="{3C43B809-8F2F-3641-8339-1043D47661D7}" srcOrd="0" destOrd="0" presId="urn:microsoft.com/office/officeart/2008/layout/HorizontalMultiLevelHierarchy"/>
    <dgm:cxn modelId="{4A82E4BD-809B-F74E-913A-CCA389307BBE}" type="presParOf" srcId="{BAA197B9-40F5-1D46-A384-973DDEA5160C}" destId="{F59926D0-D2AF-8940-B86B-A1820706A34B}" srcOrd="1" destOrd="0" presId="urn:microsoft.com/office/officeart/2008/layout/HorizontalMultiLevelHierarchy"/>
    <dgm:cxn modelId="{A08AB0D5-0C66-7841-9E04-2F16240537CC}" type="presParOf" srcId="{598DBB90-9C26-4C4B-AC1C-FF1827BF8D97}" destId="{1442578F-E924-E34F-9FA5-3F4C2CF65BC9}" srcOrd="4" destOrd="0" presId="urn:microsoft.com/office/officeart/2008/layout/HorizontalMultiLevelHierarchy"/>
    <dgm:cxn modelId="{C58E8788-F0E8-164F-B9E4-8E3C4FA10D83}" type="presParOf" srcId="{1442578F-E924-E34F-9FA5-3F4C2CF65BC9}" destId="{E59B7B1E-3287-FB43-A405-2A84667315EC}" srcOrd="0" destOrd="0" presId="urn:microsoft.com/office/officeart/2008/layout/HorizontalMultiLevelHierarchy"/>
    <dgm:cxn modelId="{290B254D-35F1-CA47-A7DE-3B4BF53AB6F7}" type="presParOf" srcId="{598DBB90-9C26-4C4B-AC1C-FF1827BF8D97}" destId="{6188AF91-8F5E-7F4E-A0A2-13FA32167F53}" srcOrd="5" destOrd="0" presId="urn:microsoft.com/office/officeart/2008/layout/HorizontalMultiLevelHierarchy"/>
    <dgm:cxn modelId="{0FBC9CAD-D348-BD42-8C54-807C033578EE}" type="presParOf" srcId="{6188AF91-8F5E-7F4E-A0A2-13FA32167F53}" destId="{5167760A-1265-4C43-B02A-4A72B3B39F5E}" srcOrd="0" destOrd="0" presId="urn:microsoft.com/office/officeart/2008/layout/HorizontalMultiLevelHierarchy"/>
    <dgm:cxn modelId="{17BB13DD-1A18-3249-9158-933C57850882}" type="presParOf" srcId="{6188AF91-8F5E-7F4E-A0A2-13FA32167F53}" destId="{21F2C295-F343-AC4A-8BE2-CFD4DAC170AE}" srcOrd="1" destOrd="0" presId="urn:microsoft.com/office/officeart/2008/layout/HorizontalMultiLevelHierarchy"/>
    <dgm:cxn modelId="{731A526B-B50A-C543-A585-69F7FC6863D9}" type="presParOf" srcId="{598DBB90-9C26-4C4B-AC1C-FF1827BF8D97}" destId="{A3F719CD-4C36-CF49-B90F-B8B40A2B29DE}" srcOrd="6" destOrd="0" presId="urn:microsoft.com/office/officeart/2008/layout/HorizontalMultiLevelHierarchy"/>
    <dgm:cxn modelId="{A19FC883-935B-9249-9DF8-200DA6266B26}" type="presParOf" srcId="{A3F719CD-4C36-CF49-B90F-B8B40A2B29DE}" destId="{348A166D-A55E-9147-99A1-FB87A4CF61A8}" srcOrd="0" destOrd="0" presId="urn:microsoft.com/office/officeart/2008/layout/HorizontalMultiLevelHierarchy"/>
    <dgm:cxn modelId="{4A016990-7502-0340-B35D-F957CE1A6F7D}" type="presParOf" srcId="{598DBB90-9C26-4C4B-AC1C-FF1827BF8D97}" destId="{175E4F2C-D898-EE44-A4E7-79846E237DB4}" srcOrd="7" destOrd="0" presId="urn:microsoft.com/office/officeart/2008/layout/HorizontalMultiLevelHierarchy"/>
    <dgm:cxn modelId="{EAEDE2CB-C092-8A49-BB84-A7B54859EE84}" type="presParOf" srcId="{175E4F2C-D898-EE44-A4E7-79846E237DB4}" destId="{921A596F-4B37-494E-B07C-17FD734C6406}" srcOrd="0" destOrd="0" presId="urn:microsoft.com/office/officeart/2008/layout/HorizontalMultiLevelHierarchy"/>
    <dgm:cxn modelId="{2FA675DD-3DF9-2444-931D-5FB4E23CB890}" type="presParOf" srcId="{175E4F2C-D898-EE44-A4E7-79846E237DB4}" destId="{A9D518F9-DAB2-4E45-9ECB-39AA13A01564}" srcOrd="1" destOrd="0" presId="urn:microsoft.com/office/officeart/2008/layout/HorizontalMultiLevelHierarchy"/>
    <dgm:cxn modelId="{615DA494-55AA-7A4A-974D-90CAF5D0CF18}" type="presParOf" srcId="{A9D518F9-DAB2-4E45-9ECB-39AA13A01564}" destId="{8AD8F429-D3CB-F748-A62E-81D3E0DD1FE1}" srcOrd="0" destOrd="0" presId="urn:microsoft.com/office/officeart/2008/layout/HorizontalMultiLevelHierarchy"/>
    <dgm:cxn modelId="{BA615165-7E85-8B46-82B3-CFE7460F2A99}" type="presParOf" srcId="{8AD8F429-D3CB-F748-A62E-81D3E0DD1FE1}" destId="{27DD3461-0240-774A-8774-CC1A00541B61}" srcOrd="0" destOrd="0" presId="urn:microsoft.com/office/officeart/2008/layout/HorizontalMultiLevelHierarchy"/>
    <dgm:cxn modelId="{319288F7-E4C0-D243-ACEC-8B5BCBC577DE}" type="presParOf" srcId="{A9D518F9-DAB2-4E45-9ECB-39AA13A01564}" destId="{11FBA7F4-3D95-3448-9648-3CEA03AB03A5}" srcOrd="1" destOrd="0" presId="urn:microsoft.com/office/officeart/2008/layout/HorizontalMultiLevelHierarchy"/>
    <dgm:cxn modelId="{DF6EC800-1174-BD40-957E-6D61DA71E577}" type="presParOf" srcId="{11FBA7F4-3D95-3448-9648-3CEA03AB03A5}" destId="{33CE7315-72E8-4545-9EC6-56F4D0BEC64D}" srcOrd="0" destOrd="0" presId="urn:microsoft.com/office/officeart/2008/layout/HorizontalMultiLevelHierarchy"/>
    <dgm:cxn modelId="{AC2B10C0-205B-624A-85E8-9ED6CA48C290}" type="presParOf" srcId="{11FBA7F4-3D95-3448-9648-3CEA03AB03A5}" destId="{F94ACA84-3A4A-0541-929E-9401CD7FB410}" srcOrd="1" destOrd="0" presId="urn:microsoft.com/office/officeart/2008/layout/HorizontalMultiLevelHierarchy"/>
    <dgm:cxn modelId="{E6ED9902-7480-2E41-8A62-D60A8D7B965C}" type="presParOf" srcId="{598DBB90-9C26-4C4B-AC1C-FF1827BF8D97}" destId="{33DDFCA5-CC66-CC45-A430-EDF4DA53BA93}" srcOrd="8" destOrd="0" presId="urn:microsoft.com/office/officeart/2008/layout/HorizontalMultiLevelHierarchy"/>
    <dgm:cxn modelId="{11FE7F50-39B5-1B46-B464-D43213E46893}" type="presParOf" srcId="{33DDFCA5-CC66-CC45-A430-EDF4DA53BA93}" destId="{569810E7-365A-FB48-A979-23DA3465EF4F}" srcOrd="0" destOrd="0" presId="urn:microsoft.com/office/officeart/2008/layout/HorizontalMultiLevelHierarchy"/>
    <dgm:cxn modelId="{4BB667BF-D65F-7949-9ED5-B83A5FAA76BC}" type="presParOf" srcId="{598DBB90-9C26-4C4B-AC1C-FF1827BF8D97}" destId="{299D8B01-3ECB-7743-BE59-35C50BD6249A}" srcOrd="9" destOrd="0" presId="urn:microsoft.com/office/officeart/2008/layout/HorizontalMultiLevelHierarchy"/>
    <dgm:cxn modelId="{809FD1F1-BB10-4446-A588-B8ED43212E64}" type="presParOf" srcId="{299D8B01-3ECB-7743-BE59-35C50BD6249A}" destId="{03DEAF18-EC72-C047-A9B4-C65BE189F02C}" srcOrd="0" destOrd="0" presId="urn:microsoft.com/office/officeart/2008/layout/HorizontalMultiLevelHierarchy"/>
    <dgm:cxn modelId="{2423399D-53B9-0440-B2F5-0B7E7A5B2DE5}" type="presParOf" srcId="{299D8B01-3ECB-7743-BE59-35C50BD6249A}" destId="{322C5A5A-9E25-6047-BB00-4DF750E135CE}" srcOrd="1" destOrd="0" presId="urn:microsoft.com/office/officeart/2008/layout/HorizontalMultiLevelHierarchy"/>
    <dgm:cxn modelId="{857963E0-FEAE-F14C-8C1F-8FEFC69F6632}" type="presParOf" srcId="{322C5A5A-9E25-6047-BB00-4DF750E135CE}" destId="{393A7F55-569D-7A48-ACE0-063418018375}" srcOrd="0" destOrd="0" presId="urn:microsoft.com/office/officeart/2008/layout/HorizontalMultiLevelHierarchy"/>
    <dgm:cxn modelId="{E0F4B6D7-ACBF-5F4F-B925-FFBC6DA422C1}" type="presParOf" srcId="{393A7F55-569D-7A48-ACE0-063418018375}" destId="{A635BF91-C219-EB46-A0CA-F8A2CE3D7BF3}" srcOrd="0" destOrd="0" presId="urn:microsoft.com/office/officeart/2008/layout/HorizontalMultiLevelHierarchy"/>
    <dgm:cxn modelId="{DFE1D558-A8B8-1C43-8635-96F3C4683843}" type="presParOf" srcId="{322C5A5A-9E25-6047-BB00-4DF750E135CE}" destId="{55918953-A6CF-814A-89F9-551623EBC010}" srcOrd="1" destOrd="0" presId="urn:microsoft.com/office/officeart/2008/layout/HorizontalMultiLevelHierarchy"/>
    <dgm:cxn modelId="{BF43D000-821A-7141-8539-9503342CA02E}" type="presParOf" srcId="{55918953-A6CF-814A-89F9-551623EBC010}" destId="{448042B3-2CED-424C-815C-8FD3B3AD8A39}" srcOrd="0" destOrd="0" presId="urn:microsoft.com/office/officeart/2008/layout/HorizontalMultiLevelHierarchy"/>
    <dgm:cxn modelId="{1FE5DB85-1AA7-1141-A864-12C822AE4FAD}" type="presParOf" srcId="{55918953-A6CF-814A-89F9-551623EBC010}" destId="{4C59A0B4-1525-104C-AAB2-E79163983336}" srcOrd="1" destOrd="0" presId="urn:microsoft.com/office/officeart/2008/layout/HorizontalMultiLevelHierarchy"/>
    <dgm:cxn modelId="{FCE10193-C5F3-8F43-8ED2-B7BA932DFA0A}" type="presParOf" srcId="{322C5A5A-9E25-6047-BB00-4DF750E135CE}" destId="{64F502CF-3E90-0B4E-886C-91AB3F51938D}" srcOrd="2" destOrd="0" presId="urn:microsoft.com/office/officeart/2008/layout/HorizontalMultiLevelHierarchy"/>
    <dgm:cxn modelId="{F0270F99-E744-D94D-9066-9E5B17D03790}" type="presParOf" srcId="{64F502CF-3E90-0B4E-886C-91AB3F51938D}" destId="{6FA82A28-C585-714B-9AF5-DA995FB3DF53}" srcOrd="0" destOrd="0" presId="urn:microsoft.com/office/officeart/2008/layout/HorizontalMultiLevelHierarchy"/>
    <dgm:cxn modelId="{1543C1E7-99E8-5248-8ED7-6A28A51661CC}" type="presParOf" srcId="{322C5A5A-9E25-6047-BB00-4DF750E135CE}" destId="{EC8B6A62-9FAE-5045-A1A4-029DC2356DF7}" srcOrd="3" destOrd="0" presId="urn:microsoft.com/office/officeart/2008/layout/HorizontalMultiLevelHierarchy"/>
    <dgm:cxn modelId="{0BFE2DC3-9BC0-F844-8CAA-3C7D40FC8D57}" type="presParOf" srcId="{EC8B6A62-9FAE-5045-A1A4-029DC2356DF7}" destId="{F9B786D6-8B73-AC47-BEA7-3780A17C3E39}" srcOrd="0" destOrd="0" presId="urn:microsoft.com/office/officeart/2008/layout/HorizontalMultiLevelHierarchy"/>
    <dgm:cxn modelId="{887FA6FB-DF0D-F24C-8248-5A4C3C84BE4F}" type="presParOf" srcId="{EC8B6A62-9FAE-5045-A1A4-029DC2356DF7}" destId="{6E27147E-0C63-E041-AB6B-5C0E60851726}" srcOrd="1" destOrd="0" presId="urn:microsoft.com/office/officeart/2008/layout/HorizontalMultiLevelHierarchy"/>
    <dgm:cxn modelId="{71A46FBB-DC2A-9B42-A227-AD35767AA8D9}" type="presParOf" srcId="{598DBB90-9C26-4C4B-AC1C-FF1827BF8D97}" destId="{60914178-E972-6747-98A5-9B1042D21399}" srcOrd="10" destOrd="0" presId="urn:microsoft.com/office/officeart/2008/layout/HorizontalMultiLevelHierarchy"/>
    <dgm:cxn modelId="{71FA264B-8E94-0C44-9265-47B2E1697ED5}" type="presParOf" srcId="{60914178-E972-6747-98A5-9B1042D21399}" destId="{03FF4E40-A0E8-E040-A52F-D68379DCC349}" srcOrd="0" destOrd="0" presId="urn:microsoft.com/office/officeart/2008/layout/HorizontalMultiLevelHierarchy"/>
    <dgm:cxn modelId="{204702CD-1CB6-3E4A-BA3A-A16FAB512497}" type="presParOf" srcId="{598DBB90-9C26-4C4B-AC1C-FF1827BF8D97}" destId="{82D22835-936A-1D4B-AF7A-2D86C6FB8621}" srcOrd="11" destOrd="0" presId="urn:microsoft.com/office/officeart/2008/layout/HorizontalMultiLevelHierarchy"/>
    <dgm:cxn modelId="{A99D4796-A1F6-5349-9403-974F144CA6D0}" type="presParOf" srcId="{82D22835-936A-1D4B-AF7A-2D86C6FB8621}" destId="{4D444EFA-484D-8B49-B53F-73AE5DAC83CB}" srcOrd="0" destOrd="0" presId="urn:microsoft.com/office/officeart/2008/layout/HorizontalMultiLevelHierarchy"/>
    <dgm:cxn modelId="{8E459433-DD58-4F43-95FD-B1535275810C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7DB474B-F09C-984C-9658-FE318F9400B8}" type="presOf" srcId="{BBD19103-9913-2A49-AB85-F021773D5328}" destId="{6FA82A28-C585-714B-9AF5-DA995FB3DF53}" srcOrd="1" destOrd="0" presId="urn:microsoft.com/office/officeart/2008/layout/HorizontalMultiLevelHierarchy"/>
    <dgm:cxn modelId="{BB09DD19-D7D7-9842-8785-04644A3E86B4}" type="presOf" srcId="{B4B50EEB-1538-DF45-B07F-7D0FD83C8ED3}" destId="{91975744-72FE-E947-98E3-ECF3B2E7C3DC}" srcOrd="0" destOrd="0" presId="urn:microsoft.com/office/officeart/2008/layout/HorizontalMultiLevelHierarchy"/>
    <dgm:cxn modelId="{3D3BB269-5063-C04A-A518-81EDD5786BFD}" type="presOf" srcId="{26144DC7-9794-3E4B-BF8F-331E25884D5F}" destId="{921A596F-4B37-494E-B07C-17FD734C6406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D905AC62-061F-894F-9462-3DECCA905061}" type="presOf" srcId="{B3C905E3-C669-9942-AEC9-21A47474CEB4}" destId="{DB79995B-B315-9C4C-BCA0-97AF2CF960CD}" srcOrd="1" destOrd="0" presId="urn:microsoft.com/office/officeart/2008/layout/HorizontalMultiLevelHierarchy"/>
    <dgm:cxn modelId="{BE763382-A845-D646-B4A7-4B90D6454DED}" type="presOf" srcId="{90FBF026-5068-6043-A75B-344D047E346D}" destId="{62990B64-CF79-7146-BF7B-48A759C6E310}" srcOrd="1" destOrd="0" presId="urn:microsoft.com/office/officeart/2008/layout/HorizontalMultiLevelHierarchy"/>
    <dgm:cxn modelId="{AAE47240-5ACD-704B-A9D8-26641A0C20CC}" type="presOf" srcId="{EF2BFDE9-4D1F-3049-B62C-65BE59459C50}" destId="{5167760A-1265-4C43-B02A-4A72B3B39F5E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4F48B90-D58C-F744-9C0C-56C19FDF804B}" type="presOf" srcId="{0726F871-37F4-AB40-AF73-6656D7E9C85D}" destId="{613226CB-11A4-C549-82A6-64B9BCFE1002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124B677-983D-F042-AD3A-09423BE127C4}" type="presOf" srcId="{5ADEDBF8-717E-F946-B11E-4CC50D9988C8}" destId="{D778007E-9974-2C41-910F-E1E5562B090A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D863CEC4-A5C1-9643-99CB-E411C8F7EB02}" type="presOf" srcId="{B3C905E3-C669-9942-AEC9-21A47474CEB4}" destId="{996189F3-00B3-7D49-A5FC-5430A26FB618}" srcOrd="0" destOrd="0" presId="urn:microsoft.com/office/officeart/2008/layout/HorizontalMultiLevelHierarchy"/>
    <dgm:cxn modelId="{50172D3C-B4F3-074C-9F98-96EA20A4E903}" type="presOf" srcId="{63D1AE09-4F57-A443-A1FD-2A3034962097}" destId="{04D949B2-6FA5-4948-B335-DDA85E4E65B1}" srcOrd="1" destOrd="0" presId="urn:microsoft.com/office/officeart/2008/layout/HorizontalMultiLevelHierarchy"/>
    <dgm:cxn modelId="{30C7F258-15AA-9B4B-AF85-A09F1BBC3F83}" type="presOf" srcId="{90FBF026-5068-6043-A75B-344D047E346D}" destId="{2242491C-75CB-654B-ABCA-74AF8E25B4E8}" srcOrd="0" destOrd="0" presId="urn:microsoft.com/office/officeart/2008/layout/HorizontalMultiLevelHierarchy"/>
    <dgm:cxn modelId="{F50FC6FD-CD99-A143-A81B-213EEF302F17}" type="presOf" srcId="{8B212141-5DD9-384A-A240-561E72DAAF7B}" destId="{21C89BDE-E13D-974B-B17D-6B6CDBB2C8DB}" srcOrd="0" destOrd="0" presId="urn:microsoft.com/office/officeart/2008/layout/HorizontalMultiLevelHierarchy"/>
    <dgm:cxn modelId="{347476D6-9F1C-6745-83A5-E916DC4D8740}" type="presOf" srcId="{5E2A7D5A-EFB6-9C4F-A960-3D6903C39497}" destId="{E59B7B1E-3287-FB43-A405-2A84667315EC}" srcOrd="1" destOrd="0" presId="urn:microsoft.com/office/officeart/2008/layout/HorizontalMultiLevelHierarchy"/>
    <dgm:cxn modelId="{B0878F34-F02D-DF42-9A30-3E48AE9B2105}" type="presOf" srcId="{B8771036-12B2-D843-AA17-BB631BA3F87D}" destId="{F9B786D6-8B73-AC47-BEA7-3780A17C3E39}" srcOrd="0" destOrd="0" presId="urn:microsoft.com/office/officeart/2008/layout/HorizontalMultiLevelHierarchy"/>
    <dgm:cxn modelId="{D57209CF-B3AF-CB4E-A96D-8625A747B427}" type="presOf" srcId="{08733529-A5F0-F14D-8E75-74214329B040}" destId="{393A7F55-569D-7A48-ACE0-063418018375}" srcOrd="0" destOrd="0" presId="urn:microsoft.com/office/officeart/2008/layout/HorizontalMultiLevelHierarchy"/>
    <dgm:cxn modelId="{8D1E119F-60CB-C945-A141-E0FD7F1E7AE4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F6BD4D2A-7011-DF46-9705-D1D9F8F62D0E}" type="presOf" srcId="{73DD7058-02B4-D24C-9D13-AF75375EF8E6}" destId="{55365CED-83D4-194F-A914-2CFC37CD9B4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DC46B5-2740-C54F-8EFF-941460B2D324}" type="presOf" srcId="{488E1B12-EE7C-9246-8169-00D4E05307C4}" destId="{5E781A07-1968-A143-88EC-827822313B55}" srcOrd="0" destOrd="0" presId="urn:microsoft.com/office/officeart/2008/layout/HorizontalMultiLevelHierarchy"/>
    <dgm:cxn modelId="{9593B4B1-AADA-0E44-BE38-3DBAB2237A93}" type="presOf" srcId="{174F7A28-653D-6F45-9860-935E35504EE1}" destId="{4D444EFA-484D-8B49-B53F-73AE5DAC83CB}" srcOrd="0" destOrd="0" presId="urn:microsoft.com/office/officeart/2008/layout/HorizontalMultiLevelHierarchy"/>
    <dgm:cxn modelId="{21209C6C-8A14-2D4C-BE11-89F68F0DD42B}" type="presOf" srcId="{73DD7058-02B4-D24C-9D13-AF75375EF8E6}" destId="{12E46C15-0F90-7843-8745-7EFB583D5A38}" srcOrd="1" destOrd="0" presId="urn:microsoft.com/office/officeart/2008/layout/HorizontalMultiLevelHierarchy"/>
    <dgm:cxn modelId="{5C4B6EA5-2B52-4A4E-969D-902A0AB14785}" type="presOf" srcId="{C0976C3D-B466-7D45-ABFB-2E3685B2F19C}" destId="{D35EA19E-870C-2F44-A620-E6B51FB20589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98E512D-D6BA-E543-90B4-70C3DD62CAB1}" type="presOf" srcId="{9EB1846C-ABB5-9E44-B030-7BE73C498E59}" destId="{03FF4E40-A0E8-E040-A52F-D68379DCC349}" srcOrd="1" destOrd="0" presId="urn:microsoft.com/office/officeart/2008/layout/HorizontalMultiLevelHierarchy"/>
    <dgm:cxn modelId="{9578782B-B451-764F-B279-D0463A4E1763}" type="presOf" srcId="{1333B56B-0FB7-DB46-BFA8-14BA9E09141B}" destId="{9E30CAA0-C8DA-7340-9AC5-F7AFBAE25743}" srcOrd="0" destOrd="0" presId="urn:microsoft.com/office/officeart/2008/layout/HorizontalMultiLevelHierarchy"/>
    <dgm:cxn modelId="{F290FABB-1A86-C144-9A53-6BB3E7FAB177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9C10427-7029-8A43-B3B2-F5DA19BB3035}" type="presOf" srcId="{7E0C02E8-17C2-874D-B6DE-8E3A1D3437C9}" destId="{448042B3-2CED-424C-815C-8FD3B3AD8A39}" srcOrd="0" destOrd="0" presId="urn:microsoft.com/office/officeart/2008/layout/HorizontalMultiLevelHierarchy"/>
    <dgm:cxn modelId="{E24A6FAF-BD08-D943-AF26-B0DECD497C86}" type="presOf" srcId="{07A4D93E-7AFB-4E4D-8384-CFBE7085BD56}" destId="{9D34DFA2-4C7C-5642-ADF0-8F3EDFBC71AF}" srcOrd="1" destOrd="0" presId="urn:microsoft.com/office/officeart/2008/layout/HorizontalMultiLevelHierarchy"/>
    <dgm:cxn modelId="{5DF0D6CC-8CAD-D945-BEC6-BD03C86FE4BA}" type="presOf" srcId="{BBD19103-9913-2A49-AB85-F021773D5328}" destId="{64F502CF-3E90-0B4E-886C-91AB3F51938D}" srcOrd="0" destOrd="0" presId="urn:microsoft.com/office/officeart/2008/layout/HorizontalMultiLevelHierarchy"/>
    <dgm:cxn modelId="{7D636FCB-1877-5245-BBCD-5328A15A6BF4}" type="presOf" srcId="{6577C284-4D20-2C4A-88D4-29EB6FEAC9C2}" destId="{348A166D-A55E-9147-99A1-FB87A4CF61A8}" srcOrd="1" destOrd="0" presId="urn:microsoft.com/office/officeart/2008/layout/HorizontalMultiLevelHierarchy"/>
    <dgm:cxn modelId="{5FCC9366-D00E-1845-803B-614D400459DE}" type="presOf" srcId="{63D1AE09-4F57-A443-A1FD-2A3034962097}" destId="{B7A5E06F-5B4B-C947-BFA6-C1FA5998CE54}" srcOrd="0" destOrd="0" presId="urn:microsoft.com/office/officeart/2008/layout/HorizontalMultiLevelHierarchy"/>
    <dgm:cxn modelId="{3A6F6CE5-7117-6E45-9C36-082321BEAC50}" type="presOf" srcId="{BA9C693C-1CF5-6E4E-A8C4-1E304AFD6DF5}" destId="{99E936FD-8649-9640-96D2-9202E1CEC417}" srcOrd="0" destOrd="0" presId="urn:microsoft.com/office/officeart/2008/layout/HorizontalMultiLevelHierarchy"/>
    <dgm:cxn modelId="{A5B10B2D-D0B3-2542-BC8B-34BBBF385308}" type="presOf" srcId="{07A4D93E-7AFB-4E4D-8384-CFBE7085BD56}" destId="{42308E2A-E89A-524C-8598-CEBE02495F63}" srcOrd="0" destOrd="0" presId="urn:microsoft.com/office/officeart/2008/layout/HorizontalMultiLevelHierarchy"/>
    <dgm:cxn modelId="{A5484538-CF37-844D-BC7E-93A9A5325DAB}" type="presOf" srcId="{990267CF-EA89-A240-9514-9AFC12BBADEE}" destId="{03DEAF18-EC72-C047-A9B4-C65BE189F02C}" srcOrd="0" destOrd="0" presId="urn:microsoft.com/office/officeart/2008/layout/HorizontalMultiLevelHierarchy"/>
    <dgm:cxn modelId="{E5199375-5652-1E47-B1A6-5919CF64C35E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DDB4743E-3DA6-9B4A-9569-D54CD02A3474}" type="presOf" srcId="{B4B50EEB-1538-DF45-B07F-7D0FD83C8ED3}" destId="{7C4C248C-9225-884B-A9F0-E626AEAE24C9}" srcOrd="1" destOrd="0" presId="urn:microsoft.com/office/officeart/2008/layout/HorizontalMultiLevelHierarchy"/>
    <dgm:cxn modelId="{746B2533-7F5E-4C44-AEF1-4D830B85E701}" type="presOf" srcId="{11D7D97A-F1CC-6A49-92BA-1094CF9B8EE3}" destId="{84732D04-01E1-2742-A082-1195BCDCDEC2}" srcOrd="0" destOrd="0" presId="urn:microsoft.com/office/officeart/2008/layout/HorizontalMultiLevelHierarchy"/>
    <dgm:cxn modelId="{849EA5DC-B52A-4A4C-B6B7-037DC8D3200E}" type="presOf" srcId="{5E2A7D5A-EFB6-9C4F-A960-3D6903C39497}" destId="{1442578F-E924-E34F-9FA5-3F4C2CF65BC9}" srcOrd="0" destOrd="0" presId="urn:microsoft.com/office/officeart/2008/layout/HorizontalMultiLevelHierarchy"/>
    <dgm:cxn modelId="{64E96F50-A011-484A-B011-BB7CA1D7D8AE}" type="presOf" srcId="{80BD7623-DCEC-2448-AB85-7A6B177B6EBB}" destId="{73B69BAE-7567-8E4E-A9B2-D2862F6B978E}" srcOrd="0" destOrd="0" presId="urn:microsoft.com/office/officeart/2008/layout/HorizontalMultiLevelHierarchy"/>
    <dgm:cxn modelId="{7C541C85-BD53-FD49-A8AF-37DEAF627A29}" type="presOf" srcId="{134C8002-4160-B046-917F-B9172D6D011E}" destId="{569810E7-365A-FB48-A979-23DA3465EF4F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5A1356F-FBEF-4F48-A527-88B1067CA2FB}" type="presOf" srcId="{5ADEDBF8-717E-F946-B11E-4CC50D9988C8}" destId="{AB33012A-8C54-6245-96E8-E0111C081E33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D86BAE4-69A7-8840-BBE6-0B93638CC0B7}" type="presOf" srcId="{516F75D9-69F5-0544-995D-CFB72352B59F}" destId="{887F982A-9047-D440-AFAC-0FD9C008886A}" srcOrd="0" destOrd="0" presId="urn:microsoft.com/office/officeart/2008/layout/HorizontalMultiLevelHierarchy"/>
    <dgm:cxn modelId="{14ED7A1F-DABA-944B-8831-A06F74159FE9}" type="presOf" srcId="{6577C284-4D20-2C4A-88D4-29EB6FEAC9C2}" destId="{A3F719CD-4C36-CF49-B90F-B8B40A2B29DE}" srcOrd="0" destOrd="0" presId="urn:microsoft.com/office/officeart/2008/layout/HorizontalMultiLevelHierarchy"/>
    <dgm:cxn modelId="{C4B37777-7B28-6243-B9AA-129FB2373580}" type="presParOf" srcId="{613226CB-11A4-C549-82A6-64B9BCFE1002}" destId="{3BA40406-1E55-1642-A22A-B49F5A173AC8}" srcOrd="0" destOrd="0" presId="urn:microsoft.com/office/officeart/2008/layout/HorizontalMultiLevelHierarchy"/>
    <dgm:cxn modelId="{81E35F51-CC1A-EE42-99B6-806CC52015E4}" type="presParOf" srcId="{3BA40406-1E55-1642-A22A-B49F5A173AC8}" destId="{99E936FD-8649-9640-96D2-9202E1CEC417}" srcOrd="0" destOrd="0" presId="urn:microsoft.com/office/officeart/2008/layout/HorizontalMultiLevelHierarchy"/>
    <dgm:cxn modelId="{E4761F4C-8DF1-024C-AA94-01EFA036347F}" type="presParOf" srcId="{3BA40406-1E55-1642-A22A-B49F5A173AC8}" destId="{598DBB90-9C26-4C4B-AC1C-FF1827BF8D97}" srcOrd="1" destOrd="0" presId="urn:microsoft.com/office/officeart/2008/layout/HorizontalMultiLevelHierarchy"/>
    <dgm:cxn modelId="{BBC32C2A-5FFD-D441-A89E-A64162EF056E}" type="presParOf" srcId="{598DBB90-9C26-4C4B-AC1C-FF1827BF8D97}" destId="{D778007E-9974-2C41-910F-E1E5562B090A}" srcOrd="0" destOrd="0" presId="urn:microsoft.com/office/officeart/2008/layout/HorizontalMultiLevelHierarchy"/>
    <dgm:cxn modelId="{767F7EF9-E918-864D-9145-A18E8ADD40AB}" type="presParOf" srcId="{D778007E-9974-2C41-910F-E1E5562B090A}" destId="{AB33012A-8C54-6245-96E8-E0111C081E33}" srcOrd="0" destOrd="0" presId="urn:microsoft.com/office/officeart/2008/layout/HorizontalMultiLevelHierarchy"/>
    <dgm:cxn modelId="{4DF44877-8C86-AF4C-B714-595F55589539}" type="presParOf" srcId="{598DBB90-9C26-4C4B-AC1C-FF1827BF8D97}" destId="{BCA6FE17-8DB6-0242-A6E4-C7D3971EBD97}" srcOrd="1" destOrd="0" presId="urn:microsoft.com/office/officeart/2008/layout/HorizontalMultiLevelHierarchy"/>
    <dgm:cxn modelId="{358E6BE0-3523-CC48-B864-99B911DA588A}" type="presParOf" srcId="{BCA6FE17-8DB6-0242-A6E4-C7D3971EBD97}" destId="{5E781A07-1968-A143-88EC-827822313B55}" srcOrd="0" destOrd="0" presId="urn:microsoft.com/office/officeart/2008/layout/HorizontalMultiLevelHierarchy"/>
    <dgm:cxn modelId="{3BFD878F-8C10-094E-A0CF-E554AB743FBE}" type="presParOf" srcId="{BCA6FE17-8DB6-0242-A6E4-C7D3971EBD97}" destId="{BDDED42C-20CE-EF4E-85AA-7830E9428B23}" srcOrd="1" destOrd="0" presId="urn:microsoft.com/office/officeart/2008/layout/HorizontalMultiLevelHierarchy"/>
    <dgm:cxn modelId="{A66BD8CE-D075-E640-AA32-6B94DD9A9A5E}" type="presParOf" srcId="{598DBB90-9C26-4C4B-AC1C-FF1827BF8D97}" destId="{B7A5E06F-5B4B-C947-BFA6-C1FA5998CE54}" srcOrd="2" destOrd="0" presId="urn:microsoft.com/office/officeart/2008/layout/HorizontalMultiLevelHierarchy"/>
    <dgm:cxn modelId="{B3647F07-5466-0A4B-B09C-75067FDC85F0}" type="presParOf" srcId="{B7A5E06F-5B4B-C947-BFA6-C1FA5998CE54}" destId="{04D949B2-6FA5-4948-B335-DDA85E4E65B1}" srcOrd="0" destOrd="0" presId="urn:microsoft.com/office/officeart/2008/layout/HorizontalMultiLevelHierarchy"/>
    <dgm:cxn modelId="{2F06A732-955C-904C-90CA-48088AE79427}" type="presParOf" srcId="{598DBB90-9C26-4C4B-AC1C-FF1827BF8D97}" destId="{5B0B9041-BDB4-7141-9957-0BEAFB33AEFE}" srcOrd="3" destOrd="0" presId="urn:microsoft.com/office/officeart/2008/layout/HorizontalMultiLevelHierarchy"/>
    <dgm:cxn modelId="{C2F3324A-3909-0C40-B78C-C8BF5E6FC186}" type="presParOf" srcId="{5B0B9041-BDB4-7141-9957-0BEAFB33AEFE}" destId="{D35EA19E-870C-2F44-A620-E6B51FB20589}" srcOrd="0" destOrd="0" presId="urn:microsoft.com/office/officeart/2008/layout/HorizontalMultiLevelHierarchy"/>
    <dgm:cxn modelId="{A4C74814-EF9D-5449-8DB9-7268047883D6}" type="presParOf" srcId="{5B0B9041-BDB4-7141-9957-0BEAFB33AEFE}" destId="{62348515-9687-1045-ADA1-3184EC8CEC61}" srcOrd="1" destOrd="0" presId="urn:microsoft.com/office/officeart/2008/layout/HorizontalMultiLevelHierarchy"/>
    <dgm:cxn modelId="{7B92BD23-FE91-7E42-869E-CB0BC6430C61}" type="presParOf" srcId="{598DBB90-9C26-4C4B-AC1C-FF1827BF8D97}" destId="{42308E2A-E89A-524C-8598-CEBE02495F63}" srcOrd="4" destOrd="0" presId="urn:microsoft.com/office/officeart/2008/layout/HorizontalMultiLevelHierarchy"/>
    <dgm:cxn modelId="{B4CE51FF-028C-FD46-B710-52BA15959531}" type="presParOf" srcId="{42308E2A-E89A-524C-8598-CEBE02495F63}" destId="{9D34DFA2-4C7C-5642-ADF0-8F3EDFBC71AF}" srcOrd="0" destOrd="0" presId="urn:microsoft.com/office/officeart/2008/layout/HorizontalMultiLevelHierarchy"/>
    <dgm:cxn modelId="{388D447F-8BE1-6E4A-9BB0-7A26B71589A3}" type="presParOf" srcId="{598DBB90-9C26-4C4B-AC1C-FF1827BF8D97}" destId="{5A37FE29-273D-2F4A-BA74-A981AFDF7035}" srcOrd="5" destOrd="0" presId="urn:microsoft.com/office/officeart/2008/layout/HorizontalMultiLevelHierarchy"/>
    <dgm:cxn modelId="{68CC63DA-A69E-034C-82D0-7B251D61444E}" type="presParOf" srcId="{5A37FE29-273D-2F4A-BA74-A981AFDF7035}" destId="{887F982A-9047-D440-AFAC-0FD9C008886A}" srcOrd="0" destOrd="0" presId="urn:microsoft.com/office/officeart/2008/layout/HorizontalMultiLevelHierarchy"/>
    <dgm:cxn modelId="{211AF511-05D6-BE43-9C0E-9F2E5FBFA155}" type="presParOf" srcId="{5A37FE29-273D-2F4A-BA74-A981AFDF7035}" destId="{740B7AF0-357F-C843-8A5C-C85C349471AE}" srcOrd="1" destOrd="0" presId="urn:microsoft.com/office/officeart/2008/layout/HorizontalMultiLevelHierarchy"/>
    <dgm:cxn modelId="{35A3322D-8558-FE41-A785-67A13C86DD9A}" type="presParOf" srcId="{598DBB90-9C26-4C4B-AC1C-FF1827BF8D97}" destId="{996189F3-00B3-7D49-A5FC-5430A26FB618}" srcOrd="6" destOrd="0" presId="urn:microsoft.com/office/officeart/2008/layout/HorizontalMultiLevelHierarchy"/>
    <dgm:cxn modelId="{B936DBD3-6C08-BF46-99CE-18FC8E02834E}" type="presParOf" srcId="{996189F3-00B3-7D49-A5FC-5430A26FB618}" destId="{DB79995B-B315-9C4C-BCA0-97AF2CF960CD}" srcOrd="0" destOrd="0" presId="urn:microsoft.com/office/officeart/2008/layout/HorizontalMultiLevelHierarchy"/>
    <dgm:cxn modelId="{6A021612-C340-1C42-8381-E1616C44E661}" type="presParOf" srcId="{598DBB90-9C26-4C4B-AC1C-FF1827BF8D97}" destId="{7361FCA1-91C1-7340-94A4-772CB0377746}" srcOrd="7" destOrd="0" presId="urn:microsoft.com/office/officeart/2008/layout/HorizontalMultiLevelHierarchy"/>
    <dgm:cxn modelId="{4EF180BE-A650-B04B-AB26-8586617C1224}" type="presParOf" srcId="{7361FCA1-91C1-7340-94A4-772CB0377746}" destId="{9E30CAA0-C8DA-7340-9AC5-F7AFBAE25743}" srcOrd="0" destOrd="0" presId="urn:microsoft.com/office/officeart/2008/layout/HorizontalMultiLevelHierarchy"/>
    <dgm:cxn modelId="{AEA56F1D-8D4D-FE4E-8FCB-9E0EEC61700F}" type="presParOf" srcId="{7361FCA1-91C1-7340-94A4-772CB0377746}" destId="{75AE1B1C-8672-CF47-8665-1AE6D32AB23F}" srcOrd="1" destOrd="0" presId="urn:microsoft.com/office/officeart/2008/layout/HorizontalMultiLevelHierarchy"/>
    <dgm:cxn modelId="{5EA3FF7E-E90A-F44E-8B56-A6C778251C10}" type="presParOf" srcId="{598DBB90-9C26-4C4B-AC1C-FF1827BF8D97}" destId="{1442578F-E924-E34F-9FA5-3F4C2CF65BC9}" srcOrd="8" destOrd="0" presId="urn:microsoft.com/office/officeart/2008/layout/HorizontalMultiLevelHierarchy"/>
    <dgm:cxn modelId="{231A6B85-BF4E-9543-9629-4F2C8384AC4B}" type="presParOf" srcId="{1442578F-E924-E34F-9FA5-3F4C2CF65BC9}" destId="{E59B7B1E-3287-FB43-A405-2A84667315EC}" srcOrd="0" destOrd="0" presId="urn:microsoft.com/office/officeart/2008/layout/HorizontalMultiLevelHierarchy"/>
    <dgm:cxn modelId="{EE85E4D0-DBA5-FC47-9003-167F34D03C6E}" type="presParOf" srcId="{598DBB90-9C26-4C4B-AC1C-FF1827BF8D97}" destId="{6188AF91-8F5E-7F4E-A0A2-13FA32167F53}" srcOrd="9" destOrd="0" presId="urn:microsoft.com/office/officeart/2008/layout/HorizontalMultiLevelHierarchy"/>
    <dgm:cxn modelId="{2AB32EFD-8499-684A-A369-9B53A1BA84D6}" type="presParOf" srcId="{6188AF91-8F5E-7F4E-A0A2-13FA32167F53}" destId="{5167760A-1265-4C43-B02A-4A72B3B39F5E}" srcOrd="0" destOrd="0" presId="urn:microsoft.com/office/officeart/2008/layout/HorizontalMultiLevelHierarchy"/>
    <dgm:cxn modelId="{B4EDB4C8-1163-5A48-AE0D-96E63F48CEA9}" type="presParOf" srcId="{6188AF91-8F5E-7F4E-A0A2-13FA32167F53}" destId="{21F2C295-F343-AC4A-8BE2-CFD4DAC170AE}" srcOrd="1" destOrd="0" presId="urn:microsoft.com/office/officeart/2008/layout/HorizontalMultiLevelHierarchy"/>
    <dgm:cxn modelId="{A21EF679-4B04-E045-A39A-946FF858E646}" type="presParOf" srcId="{598DBB90-9C26-4C4B-AC1C-FF1827BF8D97}" destId="{A3F719CD-4C36-CF49-B90F-B8B40A2B29DE}" srcOrd="10" destOrd="0" presId="urn:microsoft.com/office/officeart/2008/layout/HorizontalMultiLevelHierarchy"/>
    <dgm:cxn modelId="{7573780D-ED44-6546-8B98-CBB7DDFE284C}" type="presParOf" srcId="{A3F719CD-4C36-CF49-B90F-B8B40A2B29DE}" destId="{348A166D-A55E-9147-99A1-FB87A4CF61A8}" srcOrd="0" destOrd="0" presId="urn:microsoft.com/office/officeart/2008/layout/HorizontalMultiLevelHierarchy"/>
    <dgm:cxn modelId="{3AD1D8B4-D584-2B47-8292-DDDC5F3520C3}" type="presParOf" srcId="{598DBB90-9C26-4C4B-AC1C-FF1827BF8D97}" destId="{175E4F2C-D898-EE44-A4E7-79846E237DB4}" srcOrd="11" destOrd="0" presId="urn:microsoft.com/office/officeart/2008/layout/HorizontalMultiLevelHierarchy"/>
    <dgm:cxn modelId="{1A7BC008-A1EC-CD48-A43B-F01E30F5772D}" type="presParOf" srcId="{175E4F2C-D898-EE44-A4E7-79846E237DB4}" destId="{921A596F-4B37-494E-B07C-17FD734C6406}" srcOrd="0" destOrd="0" presId="urn:microsoft.com/office/officeart/2008/layout/HorizontalMultiLevelHierarchy"/>
    <dgm:cxn modelId="{D5EE583F-2CA6-144C-9CDC-FB524EA4A4C4}" type="presParOf" srcId="{175E4F2C-D898-EE44-A4E7-79846E237DB4}" destId="{A9D518F9-DAB2-4E45-9ECB-39AA13A01564}" srcOrd="1" destOrd="0" presId="urn:microsoft.com/office/officeart/2008/layout/HorizontalMultiLevelHierarchy"/>
    <dgm:cxn modelId="{04511FB1-8483-D946-9971-EBFF4E4E8C2A}" type="presParOf" srcId="{598DBB90-9C26-4C4B-AC1C-FF1827BF8D97}" destId="{33DDFCA5-CC66-CC45-A430-EDF4DA53BA93}" srcOrd="12" destOrd="0" presId="urn:microsoft.com/office/officeart/2008/layout/HorizontalMultiLevelHierarchy"/>
    <dgm:cxn modelId="{10B5E135-DA4C-D24C-A00A-1EC7B36C3285}" type="presParOf" srcId="{33DDFCA5-CC66-CC45-A430-EDF4DA53BA93}" destId="{569810E7-365A-FB48-A979-23DA3465EF4F}" srcOrd="0" destOrd="0" presId="urn:microsoft.com/office/officeart/2008/layout/HorizontalMultiLevelHierarchy"/>
    <dgm:cxn modelId="{1EA3E53B-D85F-994C-86CE-31FECE1602E6}" type="presParOf" srcId="{598DBB90-9C26-4C4B-AC1C-FF1827BF8D97}" destId="{299D8B01-3ECB-7743-BE59-35C50BD6249A}" srcOrd="13" destOrd="0" presId="urn:microsoft.com/office/officeart/2008/layout/HorizontalMultiLevelHierarchy"/>
    <dgm:cxn modelId="{5F774DAD-2D53-5A41-B3D3-2835138E96B9}" type="presParOf" srcId="{299D8B01-3ECB-7743-BE59-35C50BD6249A}" destId="{03DEAF18-EC72-C047-A9B4-C65BE189F02C}" srcOrd="0" destOrd="0" presId="urn:microsoft.com/office/officeart/2008/layout/HorizontalMultiLevelHierarchy"/>
    <dgm:cxn modelId="{7208E1B0-F58B-BE45-ABF6-4B1E45AC4ECD}" type="presParOf" srcId="{299D8B01-3ECB-7743-BE59-35C50BD6249A}" destId="{322C5A5A-9E25-6047-BB00-4DF750E135CE}" srcOrd="1" destOrd="0" presId="urn:microsoft.com/office/officeart/2008/layout/HorizontalMultiLevelHierarchy"/>
    <dgm:cxn modelId="{448A9070-8DC3-1241-BC74-E51659D2B226}" type="presParOf" srcId="{322C5A5A-9E25-6047-BB00-4DF750E135CE}" destId="{393A7F55-569D-7A48-ACE0-063418018375}" srcOrd="0" destOrd="0" presId="urn:microsoft.com/office/officeart/2008/layout/HorizontalMultiLevelHierarchy"/>
    <dgm:cxn modelId="{A2E99C4C-B86D-E047-BDE6-EC74E12822CE}" type="presParOf" srcId="{393A7F55-569D-7A48-ACE0-063418018375}" destId="{A635BF91-C219-EB46-A0CA-F8A2CE3D7BF3}" srcOrd="0" destOrd="0" presId="urn:microsoft.com/office/officeart/2008/layout/HorizontalMultiLevelHierarchy"/>
    <dgm:cxn modelId="{BB9CD17C-A5ED-D84D-9DFA-A7DD0CF1EAF0}" type="presParOf" srcId="{322C5A5A-9E25-6047-BB00-4DF750E135CE}" destId="{55918953-A6CF-814A-89F9-551623EBC010}" srcOrd="1" destOrd="0" presId="urn:microsoft.com/office/officeart/2008/layout/HorizontalMultiLevelHierarchy"/>
    <dgm:cxn modelId="{BE14B98B-97CA-A64C-9044-5CC039E1DC25}" type="presParOf" srcId="{55918953-A6CF-814A-89F9-551623EBC010}" destId="{448042B3-2CED-424C-815C-8FD3B3AD8A39}" srcOrd="0" destOrd="0" presId="urn:microsoft.com/office/officeart/2008/layout/HorizontalMultiLevelHierarchy"/>
    <dgm:cxn modelId="{95B7DA91-C6AF-364A-B108-921B522D8D98}" type="presParOf" srcId="{55918953-A6CF-814A-89F9-551623EBC010}" destId="{4C59A0B4-1525-104C-AAB2-E79163983336}" srcOrd="1" destOrd="0" presId="urn:microsoft.com/office/officeart/2008/layout/HorizontalMultiLevelHierarchy"/>
    <dgm:cxn modelId="{B332B49A-254B-1741-9E69-538E8A73AF98}" type="presParOf" srcId="{322C5A5A-9E25-6047-BB00-4DF750E135CE}" destId="{64F502CF-3E90-0B4E-886C-91AB3F51938D}" srcOrd="2" destOrd="0" presId="urn:microsoft.com/office/officeart/2008/layout/HorizontalMultiLevelHierarchy"/>
    <dgm:cxn modelId="{3E85F836-557B-4F4E-97A9-00C84D97B359}" type="presParOf" srcId="{64F502CF-3E90-0B4E-886C-91AB3F51938D}" destId="{6FA82A28-C585-714B-9AF5-DA995FB3DF53}" srcOrd="0" destOrd="0" presId="urn:microsoft.com/office/officeart/2008/layout/HorizontalMultiLevelHierarchy"/>
    <dgm:cxn modelId="{6EA403B9-DB8F-C74F-9C52-CCA6012F9CFC}" type="presParOf" srcId="{322C5A5A-9E25-6047-BB00-4DF750E135CE}" destId="{EC8B6A62-9FAE-5045-A1A4-029DC2356DF7}" srcOrd="3" destOrd="0" presId="urn:microsoft.com/office/officeart/2008/layout/HorizontalMultiLevelHierarchy"/>
    <dgm:cxn modelId="{E08E68B3-18AB-BF49-B61F-3B3E25E4796F}" type="presParOf" srcId="{EC8B6A62-9FAE-5045-A1A4-029DC2356DF7}" destId="{F9B786D6-8B73-AC47-BEA7-3780A17C3E39}" srcOrd="0" destOrd="0" presId="urn:microsoft.com/office/officeart/2008/layout/HorizontalMultiLevelHierarchy"/>
    <dgm:cxn modelId="{F717BE07-8F01-424B-8138-5A7EB6110C29}" type="presParOf" srcId="{EC8B6A62-9FAE-5045-A1A4-029DC2356DF7}" destId="{6E27147E-0C63-E041-AB6B-5C0E60851726}" srcOrd="1" destOrd="0" presId="urn:microsoft.com/office/officeart/2008/layout/HorizontalMultiLevelHierarchy"/>
    <dgm:cxn modelId="{4098DBCB-DFE1-9D40-8F50-B16A1CF804C0}" type="presParOf" srcId="{598DBB90-9C26-4C4B-AC1C-FF1827BF8D97}" destId="{60914178-E972-6747-98A5-9B1042D21399}" srcOrd="14" destOrd="0" presId="urn:microsoft.com/office/officeart/2008/layout/HorizontalMultiLevelHierarchy"/>
    <dgm:cxn modelId="{2A17E834-548A-B645-8811-052E7A635AE8}" type="presParOf" srcId="{60914178-E972-6747-98A5-9B1042D21399}" destId="{03FF4E40-A0E8-E040-A52F-D68379DCC349}" srcOrd="0" destOrd="0" presId="urn:microsoft.com/office/officeart/2008/layout/HorizontalMultiLevelHierarchy"/>
    <dgm:cxn modelId="{55712291-9E92-7940-B0CC-E932DD71373F}" type="presParOf" srcId="{598DBB90-9C26-4C4B-AC1C-FF1827BF8D97}" destId="{82D22835-936A-1D4B-AF7A-2D86C6FB8621}" srcOrd="15" destOrd="0" presId="urn:microsoft.com/office/officeart/2008/layout/HorizontalMultiLevelHierarchy"/>
    <dgm:cxn modelId="{E1F606B3-653B-8A49-A223-932081C5D43F}" type="presParOf" srcId="{82D22835-936A-1D4B-AF7A-2D86C6FB8621}" destId="{4D444EFA-484D-8B49-B53F-73AE5DAC83CB}" srcOrd="0" destOrd="0" presId="urn:microsoft.com/office/officeart/2008/layout/HorizontalMultiLevelHierarchy"/>
    <dgm:cxn modelId="{281CCEC2-D4AD-6544-AF25-F8E139AC83B5}" type="presParOf" srcId="{82D22835-936A-1D4B-AF7A-2D86C6FB8621}" destId="{780003EA-E55D-2544-948D-2BA68EB5F8A9}" srcOrd="1" destOrd="0" presId="urn:microsoft.com/office/officeart/2008/layout/HorizontalMultiLevelHierarchy"/>
    <dgm:cxn modelId="{A030D682-8C2A-E545-92A2-7F103AE00450}" type="presParOf" srcId="{598DBB90-9C26-4C4B-AC1C-FF1827BF8D97}" destId="{91975744-72FE-E947-98E3-ECF3B2E7C3DC}" srcOrd="16" destOrd="0" presId="urn:microsoft.com/office/officeart/2008/layout/HorizontalMultiLevelHierarchy"/>
    <dgm:cxn modelId="{BB63C7D2-675A-DA48-AC4B-157F8F038B02}" type="presParOf" srcId="{91975744-72FE-E947-98E3-ECF3B2E7C3DC}" destId="{7C4C248C-9225-884B-A9F0-E626AEAE24C9}" srcOrd="0" destOrd="0" presId="urn:microsoft.com/office/officeart/2008/layout/HorizontalMultiLevelHierarchy"/>
    <dgm:cxn modelId="{B94AE2BD-7E5D-7C46-AFE8-1321CAC2D409}" type="presParOf" srcId="{598DBB90-9C26-4C4B-AC1C-FF1827BF8D97}" destId="{FD91877E-03C5-8D41-B768-0E4703294F6C}" srcOrd="17" destOrd="0" presId="urn:microsoft.com/office/officeart/2008/layout/HorizontalMultiLevelHierarchy"/>
    <dgm:cxn modelId="{50866D4F-CBFA-6D42-8EDB-D69B990BA825}" type="presParOf" srcId="{FD91877E-03C5-8D41-B768-0E4703294F6C}" destId="{73B69BAE-7567-8E4E-A9B2-D2862F6B978E}" srcOrd="0" destOrd="0" presId="urn:microsoft.com/office/officeart/2008/layout/HorizontalMultiLevelHierarchy"/>
    <dgm:cxn modelId="{8F62902C-F004-704E-A6C9-A99886C19A9F}" type="presParOf" srcId="{FD91877E-03C5-8D41-B768-0E4703294F6C}" destId="{27C85358-980A-884D-9DDA-63018758070E}" srcOrd="1" destOrd="0" presId="urn:microsoft.com/office/officeart/2008/layout/HorizontalMultiLevelHierarchy"/>
    <dgm:cxn modelId="{EFF1B301-6255-4D48-88D1-02D8C1410506}" type="presParOf" srcId="{27C85358-980A-884D-9DDA-63018758070E}" destId="{55365CED-83D4-194F-A914-2CFC37CD9B45}" srcOrd="0" destOrd="0" presId="urn:microsoft.com/office/officeart/2008/layout/HorizontalMultiLevelHierarchy"/>
    <dgm:cxn modelId="{118B0B5A-DE1F-0947-B267-D850447F741B}" type="presParOf" srcId="{55365CED-83D4-194F-A914-2CFC37CD9B45}" destId="{12E46C15-0F90-7843-8745-7EFB583D5A38}" srcOrd="0" destOrd="0" presId="urn:microsoft.com/office/officeart/2008/layout/HorizontalMultiLevelHierarchy"/>
    <dgm:cxn modelId="{97534E19-EE1F-C84F-8EB3-BBC375C79021}" type="presParOf" srcId="{27C85358-980A-884D-9DDA-63018758070E}" destId="{76889E03-95A4-234A-BE0C-87E6CEF02D37}" srcOrd="1" destOrd="0" presId="urn:microsoft.com/office/officeart/2008/layout/HorizontalMultiLevelHierarchy"/>
    <dgm:cxn modelId="{133FDB0F-7864-FA40-B7C0-96EBB57F997E}" type="presParOf" srcId="{76889E03-95A4-234A-BE0C-87E6CEF02D37}" destId="{21C89BDE-E13D-974B-B17D-6B6CDBB2C8DB}" srcOrd="0" destOrd="0" presId="urn:microsoft.com/office/officeart/2008/layout/HorizontalMultiLevelHierarchy"/>
    <dgm:cxn modelId="{FDA616EF-22CC-C146-9630-FCFA898DB219}" type="presParOf" srcId="{76889E03-95A4-234A-BE0C-87E6CEF02D37}" destId="{FB25556A-79E0-D042-8EE4-421CC8CFEFD5}" srcOrd="1" destOrd="0" presId="urn:microsoft.com/office/officeart/2008/layout/HorizontalMultiLevelHierarchy"/>
    <dgm:cxn modelId="{A7D7C233-0D09-2B46-9484-B54C67CAB65E}" type="presParOf" srcId="{27C85358-980A-884D-9DDA-63018758070E}" destId="{2242491C-75CB-654B-ABCA-74AF8E25B4E8}" srcOrd="2" destOrd="0" presId="urn:microsoft.com/office/officeart/2008/layout/HorizontalMultiLevelHierarchy"/>
    <dgm:cxn modelId="{69A3CE21-07FA-3649-90AF-736B495690A7}" type="presParOf" srcId="{2242491C-75CB-654B-ABCA-74AF8E25B4E8}" destId="{62990B64-CF79-7146-BF7B-48A759C6E310}" srcOrd="0" destOrd="0" presId="urn:microsoft.com/office/officeart/2008/layout/HorizontalMultiLevelHierarchy"/>
    <dgm:cxn modelId="{D3F734C9-7421-3D43-BC3D-D430AB54FEF3}" type="presParOf" srcId="{27C85358-980A-884D-9DDA-63018758070E}" destId="{34BC8C0B-A669-9B42-82AD-78E158ADEE5B}" srcOrd="3" destOrd="0" presId="urn:microsoft.com/office/officeart/2008/layout/HorizontalMultiLevelHierarchy"/>
    <dgm:cxn modelId="{40BD87E6-019C-564C-966E-4C8AD11F8486}" type="presParOf" srcId="{34BC8C0B-A669-9B42-82AD-78E158ADEE5B}" destId="{84732D04-01E1-2742-A082-1195BCDCDEC2}" srcOrd="0" destOrd="0" presId="urn:microsoft.com/office/officeart/2008/layout/HorizontalMultiLevelHierarchy"/>
    <dgm:cxn modelId="{B8BE11D4-76D0-2449-A424-5D6584C9C383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7F42FF7-7735-1D4C-B6FB-B753AB49064B}" type="presOf" srcId="{E543121D-95F7-3E47-B964-B7B948211EBC}" destId="{C9D429FE-9539-9D4A-9750-F9C781598EC4}" srcOrd="1" destOrd="0" presId="urn:microsoft.com/office/officeart/2008/layout/HorizontalMultiLevelHierarchy"/>
    <dgm:cxn modelId="{02126C8F-BBF2-BB43-960B-FFF9D03423C4}" type="presOf" srcId="{859769CA-042B-6244-840F-75AE1403619A}" destId="{4E546A01-1907-BB4F-B534-4E81DE6081F4}" srcOrd="0" destOrd="0" presId="urn:microsoft.com/office/officeart/2008/layout/HorizontalMultiLevelHierarchy"/>
    <dgm:cxn modelId="{7F75FD95-883A-BA42-B84F-689EACB0E5F5}" type="presOf" srcId="{134C8002-4160-B046-917F-B9172D6D011E}" destId="{569810E7-365A-FB48-A979-23DA3465EF4F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11D120DD-7B9C-A445-AEFF-42D874376526}" type="presOf" srcId="{08733529-A5F0-F14D-8E75-74214329B040}" destId="{393A7F55-569D-7A48-ACE0-063418018375}" srcOrd="0" destOrd="0" presId="urn:microsoft.com/office/officeart/2008/layout/HorizontalMultiLevelHierarchy"/>
    <dgm:cxn modelId="{84582A20-3377-9B45-8E32-D3CBB4E5348E}" type="presOf" srcId="{134C8002-4160-B046-917F-B9172D6D011E}" destId="{33DDFCA5-CC66-CC45-A430-EDF4DA53BA93}" srcOrd="0" destOrd="0" presId="urn:microsoft.com/office/officeart/2008/layout/HorizontalMultiLevelHierarchy"/>
    <dgm:cxn modelId="{35358529-DD87-C640-ADDB-5D1614279321}" type="presOf" srcId="{436C1B23-A07F-9344-ADAB-98173723FB7F}" destId="{B541F6A1-B2AA-7447-8E11-AC7AA5D5D50B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0351FFF-C7A6-584F-8229-7E9ADA9BFE81}" type="presOf" srcId="{C24B2AD7-9651-4B45-A8F4-0314EA8D4874}" destId="{8AD8F429-D3CB-F748-A62E-81D3E0DD1FE1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B6CAB0F-7627-374B-9426-095C8850F342}" type="presOf" srcId="{5ADEDBF8-717E-F946-B11E-4CC50D9988C8}" destId="{D778007E-9974-2C41-910F-E1E5562B090A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00E370F-2F31-FB4A-AB73-DF79152BF900}" type="presOf" srcId="{E543121D-95F7-3E47-B964-B7B948211EBC}" destId="{2C1F9B08-4495-8146-8974-2654E99B2E9A}" srcOrd="0" destOrd="0" presId="urn:microsoft.com/office/officeart/2008/layout/HorizontalMultiLevelHierarchy"/>
    <dgm:cxn modelId="{98CD5477-D3B6-F344-82EE-4387002E6075}" type="presOf" srcId="{BBD19103-9913-2A49-AB85-F021773D5328}" destId="{6FA82A28-C585-714B-9AF5-DA995FB3DF53}" srcOrd="1" destOrd="0" presId="urn:microsoft.com/office/officeart/2008/layout/HorizontalMultiLevelHierarchy"/>
    <dgm:cxn modelId="{3B6F7540-F213-2F43-863E-8CA868F3B5DA}" type="presOf" srcId="{75291F63-6D2A-BA4D-9808-5F545EE4CCF0}" destId="{9FB8B136-71A7-D34F-B7EB-BD8FC5C96ECE}" srcOrd="0" destOrd="0" presId="urn:microsoft.com/office/officeart/2008/layout/HorizontalMultiLevelHierarchy"/>
    <dgm:cxn modelId="{ADDC2056-F1A6-C042-9697-E5542618FCAA}" type="presOf" srcId="{B64CCDD1-81AB-5245-B99A-E87DB05674D4}" destId="{3C43B809-8F2F-3641-8339-1043D47661D7}" srcOrd="0" destOrd="0" presId="urn:microsoft.com/office/officeart/2008/layout/HorizontalMultiLevelHierarchy"/>
    <dgm:cxn modelId="{25E5B0DE-657E-424D-9B3D-5452FD35EFF7}" type="presOf" srcId="{9EB1846C-ABB5-9E44-B030-7BE73C498E59}" destId="{60914178-E972-6747-98A5-9B1042D21399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F827B89B-21BB-6F4D-BD5B-6F4ADE459975}" type="presOf" srcId="{78A64519-4827-364C-A275-D5C68A949ADD}" destId="{33CE7315-72E8-4545-9EC6-56F4D0BEC64D}" srcOrd="0" destOrd="0" presId="urn:microsoft.com/office/officeart/2008/layout/HorizontalMultiLevelHierarchy"/>
    <dgm:cxn modelId="{B18C9F7F-723B-3248-A1F6-C5D393A9C090}" type="presOf" srcId="{5ADEDBF8-717E-F946-B11E-4CC50D9988C8}" destId="{AB33012A-8C54-6245-96E8-E0111C081E3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85487518-8763-DD4E-956A-8387D2BC8A08}" type="presOf" srcId="{BBD19103-9913-2A49-AB85-F021773D5328}" destId="{64F502CF-3E90-0B4E-886C-91AB3F51938D}" srcOrd="0" destOrd="0" presId="urn:microsoft.com/office/officeart/2008/layout/HorizontalMultiLevelHierarchy"/>
    <dgm:cxn modelId="{2C976635-4F48-8F42-9BA2-7378B3D22F62}" type="presOf" srcId="{26144DC7-9794-3E4B-BF8F-331E25884D5F}" destId="{921A596F-4B37-494E-B07C-17FD734C6406}" srcOrd="0" destOrd="0" presId="urn:microsoft.com/office/officeart/2008/layout/HorizontalMultiLevelHierarchy"/>
    <dgm:cxn modelId="{5B53BD3E-9A96-1A41-AEB9-9212D7FB9439}" type="presOf" srcId="{6577C284-4D20-2C4A-88D4-29EB6FEAC9C2}" destId="{348A166D-A55E-9147-99A1-FB87A4CF61A8}" srcOrd="1" destOrd="0" presId="urn:microsoft.com/office/officeart/2008/layout/HorizontalMultiLevelHierarchy"/>
    <dgm:cxn modelId="{65140E05-4BBB-8743-9A6B-615BC35A4839}" type="presOf" srcId="{0726F871-37F4-AB40-AF73-6656D7E9C85D}" destId="{613226CB-11A4-C549-82A6-64B9BCFE1002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1FF45E4-9CDB-5E45-AB6F-81D610B34DA5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FCD869C-B5A5-714B-B870-DBDCCEAD7444}" type="presOf" srcId="{5E2A7D5A-EFB6-9C4F-A960-3D6903C39497}" destId="{E59B7B1E-3287-FB43-A405-2A84667315EC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977A47-135D-8E45-BF23-8A588B8407BD}" type="presOf" srcId="{9EB1846C-ABB5-9E44-B030-7BE73C498E59}" destId="{03FF4E40-A0E8-E040-A52F-D68379DCC349}" srcOrd="1" destOrd="0" presId="urn:microsoft.com/office/officeart/2008/layout/HorizontalMultiLevelHierarchy"/>
    <dgm:cxn modelId="{7CD209AB-4D9C-4343-AF26-3CC434E308A4}" type="presOf" srcId="{7E0C02E8-17C2-874D-B6DE-8E3A1D3437C9}" destId="{448042B3-2CED-424C-815C-8FD3B3AD8A39}" srcOrd="0" destOrd="0" presId="urn:microsoft.com/office/officeart/2008/layout/HorizontalMultiLevelHierarchy"/>
    <dgm:cxn modelId="{35E1BC25-7448-7A40-A6C2-B599D5ED8593}" type="presOf" srcId="{436C1B23-A07F-9344-ADAB-98173723FB7F}" destId="{0637CC4E-4D30-724B-9FFD-C7AED88FB068}" srcOrd="1" destOrd="0" presId="urn:microsoft.com/office/officeart/2008/layout/HorizontalMultiLevelHierarchy"/>
    <dgm:cxn modelId="{62E3A433-A2AB-864C-8EC8-B076B9334F0A}" type="presOf" srcId="{C24B2AD7-9651-4B45-A8F4-0314EA8D4874}" destId="{27DD3461-0240-774A-8774-CC1A00541B61}" srcOrd="1" destOrd="0" presId="urn:microsoft.com/office/officeart/2008/layout/HorizontalMultiLevelHierarchy"/>
    <dgm:cxn modelId="{66CE8F68-BFD5-FA4B-81BA-3972B2F97847}" type="presOf" srcId="{BA9C693C-1CF5-6E4E-A8C4-1E304AFD6DF5}" destId="{99E936FD-8649-9640-96D2-9202E1CEC417}" srcOrd="0" destOrd="0" presId="urn:microsoft.com/office/officeart/2008/layout/HorizontalMultiLevelHierarchy"/>
    <dgm:cxn modelId="{A0047610-57D4-8644-95A2-21F892FBB37E}" type="presOf" srcId="{EF2BFDE9-4D1F-3049-B62C-65BE59459C50}" destId="{5167760A-1265-4C43-B02A-4A72B3B39F5E}" srcOrd="0" destOrd="0" presId="urn:microsoft.com/office/officeart/2008/layout/HorizontalMultiLevelHierarchy"/>
    <dgm:cxn modelId="{ED75C4C3-10A0-1740-A10F-6C44D93BAF84}" type="presOf" srcId="{C0976C3D-B466-7D45-ABFB-2E3685B2F19C}" destId="{D35EA19E-870C-2F44-A620-E6B51FB20589}" srcOrd="0" destOrd="0" presId="urn:microsoft.com/office/officeart/2008/layout/HorizontalMultiLevelHierarchy"/>
    <dgm:cxn modelId="{6BABEB2A-2B70-D744-926E-6CBE6D0216E8}" type="presOf" srcId="{990267CF-EA89-A240-9514-9AFC12BBADEE}" destId="{03DEAF18-EC72-C047-A9B4-C65BE189F02C}" srcOrd="0" destOrd="0" presId="urn:microsoft.com/office/officeart/2008/layout/HorizontalMultiLevelHierarchy"/>
    <dgm:cxn modelId="{451D1C90-24D9-AD4B-9D4F-500939E37302}" type="presOf" srcId="{8BC59F7D-94BF-3B43-BF5D-5485F4809DAD}" destId="{6D977B4C-E88D-6044-A647-A6CC29747BE1}" srcOrd="0" destOrd="0" presId="urn:microsoft.com/office/officeart/2008/layout/HorizontalMultiLevelHierarchy"/>
    <dgm:cxn modelId="{3246B9FC-5D52-8F40-8887-54AED26794A9}" type="presOf" srcId="{63D1AE09-4F57-A443-A1FD-2A3034962097}" destId="{04D949B2-6FA5-4948-B335-DDA85E4E65B1}" srcOrd="1" destOrd="0" presId="urn:microsoft.com/office/officeart/2008/layout/HorizontalMultiLevelHierarchy"/>
    <dgm:cxn modelId="{873D59C9-6382-954A-AB54-98B0511E7E79}" type="presOf" srcId="{63D1AE09-4F57-A443-A1FD-2A3034962097}" destId="{B7A5E06F-5B4B-C947-BFA6-C1FA5998CE54}" srcOrd="0" destOrd="0" presId="urn:microsoft.com/office/officeart/2008/layout/HorizontalMultiLevelHierarchy"/>
    <dgm:cxn modelId="{53C9344F-7A68-6A4F-BC8A-4D948EE88E35}" type="presOf" srcId="{8BC59F7D-94BF-3B43-BF5D-5485F4809DAD}" destId="{756F0DD8-11FC-8647-8FC8-7AAB634C5717}" srcOrd="1" destOrd="0" presId="urn:microsoft.com/office/officeart/2008/layout/HorizontalMultiLevelHierarchy"/>
    <dgm:cxn modelId="{C9088BE2-80DF-D44A-B61E-33AC3102D446}" type="presOf" srcId="{174F7A28-653D-6F45-9860-935E35504EE1}" destId="{4D444EFA-484D-8B49-B53F-73AE5DAC83CB}" srcOrd="0" destOrd="0" presId="urn:microsoft.com/office/officeart/2008/layout/HorizontalMultiLevelHierarchy"/>
    <dgm:cxn modelId="{6622681C-6186-5C4A-8911-99EE0ABE66D0}" type="presOf" srcId="{488E1B12-EE7C-9246-8169-00D4E05307C4}" destId="{5E781A07-1968-A143-88EC-827822313B55}" srcOrd="0" destOrd="0" presId="urn:microsoft.com/office/officeart/2008/layout/HorizontalMultiLevelHierarchy"/>
    <dgm:cxn modelId="{B255DD4A-D697-ED4E-98E4-057D6C853063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4C9F8DB-E393-954E-9FA1-27CCA24FB016}" type="presOf" srcId="{5E2A7D5A-EFB6-9C4F-A960-3D6903C39497}" destId="{1442578F-E924-E34F-9FA5-3F4C2CF65BC9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7EB18D3-608B-3E4B-8031-C6B7B3A7805C}" type="presOf" srcId="{B8771036-12B2-D843-AA17-BB631BA3F87D}" destId="{F9B786D6-8B73-AC47-BEA7-3780A17C3E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EF7309F-FC59-6141-8155-397A0BC1EC2C}" type="presParOf" srcId="{613226CB-11A4-C549-82A6-64B9BCFE1002}" destId="{3BA40406-1E55-1642-A22A-B49F5A173AC8}" srcOrd="0" destOrd="0" presId="urn:microsoft.com/office/officeart/2008/layout/HorizontalMultiLevelHierarchy"/>
    <dgm:cxn modelId="{2315C013-C8DA-4341-909E-80B7A8AC6633}" type="presParOf" srcId="{3BA40406-1E55-1642-A22A-B49F5A173AC8}" destId="{99E936FD-8649-9640-96D2-9202E1CEC417}" srcOrd="0" destOrd="0" presId="urn:microsoft.com/office/officeart/2008/layout/HorizontalMultiLevelHierarchy"/>
    <dgm:cxn modelId="{66EC6A9A-AFCC-FE4D-9ED8-362B48D9C3D6}" type="presParOf" srcId="{3BA40406-1E55-1642-A22A-B49F5A173AC8}" destId="{598DBB90-9C26-4C4B-AC1C-FF1827BF8D97}" srcOrd="1" destOrd="0" presId="urn:microsoft.com/office/officeart/2008/layout/HorizontalMultiLevelHierarchy"/>
    <dgm:cxn modelId="{646DB475-AD1D-AF44-B147-0688F04B86EC}" type="presParOf" srcId="{598DBB90-9C26-4C4B-AC1C-FF1827BF8D97}" destId="{D778007E-9974-2C41-910F-E1E5562B090A}" srcOrd="0" destOrd="0" presId="urn:microsoft.com/office/officeart/2008/layout/HorizontalMultiLevelHierarchy"/>
    <dgm:cxn modelId="{A2733562-6437-C441-A51F-A93D4ECA1A3C}" type="presParOf" srcId="{D778007E-9974-2C41-910F-E1E5562B090A}" destId="{AB33012A-8C54-6245-96E8-E0111C081E33}" srcOrd="0" destOrd="0" presId="urn:microsoft.com/office/officeart/2008/layout/HorizontalMultiLevelHierarchy"/>
    <dgm:cxn modelId="{B6BB025A-14CD-E943-921D-7F0DB30C2CA1}" type="presParOf" srcId="{598DBB90-9C26-4C4B-AC1C-FF1827BF8D97}" destId="{BCA6FE17-8DB6-0242-A6E4-C7D3971EBD97}" srcOrd="1" destOrd="0" presId="urn:microsoft.com/office/officeart/2008/layout/HorizontalMultiLevelHierarchy"/>
    <dgm:cxn modelId="{C61E2E18-A709-A84C-BC17-3B33646A78F6}" type="presParOf" srcId="{BCA6FE17-8DB6-0242-A6E4-C7D3971EBD97}" destId="{5E781A07-1968-A143-88EC-827822313B55}" srcOrd="0" destOrd="0" presId="urn:microsoft.com/office/officeart/2008/layout/HorizontalMultiLevelHierarchy"/>
    <dgm:cxn modelId="{EC23B559-F64E-3140-8A1E-FE5B5242BB5E}" type="presParOf" srcId="{BCA6FE17-8DB6-0242-A6E4-C7D3971EBD97}" destId="{BDDED42C-20CE-EF4E-85AA-7830E9428B23}" srcOrd="1" destOrd="0" presId="urn:microsoft.com/office/officeart/2008/layout/HorizontalMultiLevelHierarchy"/>
    <dgm:cxn modelId="{14F796FD-94CD-274A-8533-32543C957FDB}" type="presParOf" srcId="{598DBB90-9C26-4C4B-AC1C-FF1827BF8D97}" destId="{B7A5E06F-5B4B-C947-BFA6-C1FA5998CE54}" srcOrd="2" destOrd="0" presId="urn:microsoft.com/office/officeart/2008/layout/HorizontalMultiLevelHierarchy"/>
    <dgm:cxn modelId="{A1CCA720-A5DD-3C42-9722-455289078721}" type="presParOf" srcId="{B7A5E06F-5B4B-C947-BFA6-C1FA5998CE54}" destId="{04D949B2-6FA5-4948-B335-DDA85E4E65B1}" srcOrd="0" destOrd="0" presId="urn:microsoft.com/office/officeart/2008/layout/HorizontalMultiLevelHierarchy"/>
    <dgm:cxn modelId="{7E4C2554-66ED-4541-AE44-DC57D7A4BF96}" type="presParOf" srcId="{598DBB90-9C26-4C4B-AC1C-FF1827BF8D97}" destId="{5B0B9041-BDB4-7141-9957-0BEAFB33AEFE}" srcOrd="3" destOrd="0" presId="urn:microsoft.com/office/officeart/2008/layout/HorizontalMultiLevelHierarchy"/>
    <dgm:cxn modelId="{5D8D090D-B581-2644-94D6-042DDAFA8CFE}" type="presParOf" srcId="{5B0B9041-BDB4-7141-9957-0BEAFB33AEFE}" destId="{D35EA19E-870C-2F44-A620-E6B51FB20589}" srcOrd="0" destOrd="0" presId="urn:microsoft.com/office/officeart/2008/layout/HorizontalMultiLevelHierarchy"/>
    <dgm:cxn modelId="{DF1976B9-584F-BE4A-9533-A8B7FFADBCDD}" type="presParOf" srcId="{5B0B9041-BDB4-7141-9957-0BEAFB33AEFE}" destId="{62348515-9687-1045-ADA1-3184EC8CEC61}" srcOrd="1" destOrd="0" presId="urn:microsoft.com/office/officeart/2008/layout/HorizontalMultiLevelHierarchy"/>
    <dgm:cxn modelId="{52693539-900B-3143-8F57-8A4659F888D0}" type="presParOf" srcId="{62348515-9687-1045-ADA1-3184EC8CEC61}" destId="{B541F6A1-B2AA-7447-8E11-AC7AA5D5D50B}" srcOrd="0" destOrd="0" presId="urn:microsoft.com/office/officeart/2008/layout/HorizontalMultiLevelHierarchy"/>
    <dgm:cxn modelId="{79A3B0AA-0244-6040-B018-56F533A76D29}" type="presParOf" srcId="{B541F6A1-B2AA-7447-8E11-AC7AA5D5D50B}" destId="{0637CC4E-4D30-724B-9FFD-C7AED88FB068}" srcOrd="0" destOrd="0" presId="urn:microsoft.com/office/officeart/2008/layout/HorizontalMultiLevelHierarchy"/>
    <dgm:cxn modelId="{1CD2D5FD-3F73-B049-B47A-6ABBA81D44AE}" type="presParOf" srcId="{62348515-9687-1045-ADA1-3184EC8CEC61}" destId="{CA3C244E-E149-0742-ACEF-44B7ECE83631}" srcOrd="1" destOrd="0" presId="urn:microsoft.com/office/officeart/2008/layout/HorizontalMultiLevelHierarchy"/>
    <dgm:cxn modelId="{3CE306FF-8E0F-3D41-A0EE-2ACDCF1D07C9}" type="presParOf" srcId="{CA3C244E-E149-0742-ACEF-44B7ECE83631}" destId="{9FB8B136-71A7-D34F-B7EB-BD8FC5C96ECE}" srcOrd="0" destOrd="0" presId="urn:microsoft.com/office/officeart/2008/layout/HorizontalMultiLevelHierarchy"/>
    <dgm:cxn modelId="{7149420D-544E-AD4B-AA97-82092443C0AC}" type="presParOf" srcId="{CA3C244E-E149-0742-ACEF-44B7ECE83631}" destId="{9B46DB51-FCC5-AC41-BECD-E28037B564D0}" srcOrd="1" destOrd="0" presId="urn:microsoft.com/office/officeart/2008/layout/HorizontalMultiLevelHierarchy"/>
    <dgm:cxn modelId="{AEE9F6FB-4CB4-6B42-8E06-9DBF52612E18}" type="presParOf" srcId="{62348515-9687-1045-ADA1-3184EC8CEC61}" destId="{2C1F9B08-4495-8146-8974-2654E99B2E9A}" srcOrd="2" destOrd="0" presId="urn:microsoft.com/office/officeart/2008/layout/HorizontalMultiLevelHierarchy"/>
    <dgm:cxn modelId="{E965404F-3C00-224F-BB5D-6156731468E1}" type="presParOf" srcId="{2C1F9B08-4495-8146-8974-2654E99B2E9A}" destId="{C9D429FE-9539-9D4A-9750-F9C781598EC4}" srcOrd="0" destOrd="0" presId="urn:microsoft.com/office/officeart/2008/layout/HorizontalMultiLevelHierarchy"/>
    <dgm:cxn modelId="{278C61EA-BF80-C74C-B09D-6C634062456A}" type="presParOf" srcId="{62348515-9687-1045-ADA1-3184EC8CEC61}" destId="{7F107BC0-209A-4C42-BEA6-B6817D5C9E09}" srcOrd="3" destOrd="0" presId="urn:microsoft.com/office/officeart/2008/layout/HorizontalMultiLevelHierarchy"/>
    <dgm:cxn modelId="{CD8D2DE5-360C-E040-951C-D6ABD4600E9A}" type="presParOf" srcId="{7F107BC0-209A-4C42-BEA6-B6817D5C9E09}" destId="{4E546A01-1907-BB4F-B534-4E81DE6081F4}" srcOrd="0" destOrd="0" presId="urn:microsoft.com/office/officeart/2008/layout/HorizontalMultiLevelHierarchy"/>
    <dgm:cxn modelId="{A7D9D065-2B3A-3E47-AFD6-1B87362B63A1}" type="presParOf" srcId="{7F107BC0-209A-4C42-BEA6-B6817D5C9E09}" destId="{F5393339-32D0-CE4B-9AAA-4B6A114FA39A}" srcOrd="1" destOrd="0" presId="urn:microsoft.com/office/officeart/2008/layout/HorizontalMultiLevelHierarchy"/>
    <dgm:cxn modelId="{B162497B-2A46-2142-AF4B-DB363A28577D}" type="presParOf" srcId="{62348515-9687-1045-ADA1-3184EC8CEC61}" destId="{6D977B4C-E88D-6044-A647-A6CC29747BE1}" srcOrd="4" destOrd="0" presId="urn:microsoft.com/office/officeart/2008/layout/HorizontalMultiLevelHierarchy"/>
    <dgm:cxn modelId="{8C5EDBBC-E573-4945-804F-12495CDE6708}" type="presParOf" srcId="{6D977B4C-E88D-6044-A647-A6CC29747BE1}" destId="{756F0DD8-11FC-8647-8FC8-7AAB634C5717}" srcOrd="0" destOrd="0" presId="urn:microsoft.com/office/officeart/2008/layout/HorizontalMultiLevelHierarchy"/>
    <dgm:cxn modelId="{7A38FAD3-B30A-714A-B543-B16630BD44F9}" type="presParOf" srcId="{62348515-9687-1045-ADA1-3184EC8CEC61}" destId="{BAA197B9-40F5-1D46-A384-973DDEA5160C}" srcOrd="5" destOrd="0" presId="urn:microsoft.com/office/officeart/2008/layout/HorizontalMultiLevelHierarchy"/>
    <dgm:cxn modelId="{4067BAD5-5069-D944-8FD0-0775F8805572}" type="presParOf" srcId="{BAA197B9-40F5-1D46-A384-973DDEA5160C}" destId="{3C43B809-8F2F-3641-8339-1043D47661D7}" srcOrd="0" destOrd="0" presId="urn:microsoft.com/office/officeart/2008/layout/HorizontalMultiLevelHierarchy"/>
    <dgm:cxn modelId="{5B4511FE-D7F5-4846-9B3D-CD8DD6CDF975}" type="presParOf" srcId="{BAA197B9-40F5-1D46-A384-973DDEA5160C}" destId="{F59926D0-D2AF-8940-B86B-A1820706A34B}" srcOrd="1" destOrd="0" presId="urn:microsoft.com/office/officeart/2008/layout/HorizontalMultiLevelHierarchy"/>
    <dgm:cxn modelId="{524BD9A8-B817-0345-B9A6-68373E9930E7}" type="presParOf" srcId="{598DBB90-9C26-4C4B-AC1C-FF1827BF8D97}" destId="{1442578F-E924-E34F-9FA5-3F4C2CF65BC9}" srcOrd="4" destOrd="0" presId="urn:microsoft.com/office/officeart/2008/layout/HorizontalMultiLevelHierarchy"/>
    <dgm:cxn modelId="{C1F38A5C-6DCB-034B-99EE-31890802E142}" type="presParOf" srcId="{1442578F-E924-E34F-9FA5-3F4C2CF65BC9}" destId="{E59B7B1E-3287-FB43-A405-2A84667315EC}" srcOrd="0" destOrd="0" presId="urn:microsoft.com/office/officeart/2008/layout/HorizontalMultiLevelHierarchy"/>
    <dgm:cxn modelId="{6AE43625-DAC3-CC4F-B172-E5BB778C2DB0}" type="presParOf" srcId="{598DBB90-9C26-4C4B-AC1C-FF1827BF8D97}" destId="{6188AF91-8F5E-7F4E-A0A2-13FA32167F53}" srcOrd="5" destOrd="0" presId="urn:microsoft.com/office/officeart/2008/layout/HorizontalMultiLevelHierarchy"/>
    <dgm:cxn modelId="{A66BC2D9-B299-8343-A88E-BF02EB0637DF}" type="presParOf" srcId="{6188AF91-8F5E-7F4E-A0A2-13FA32167F53}" destId="{5167760A-1265-4C43-B02A-4A72B3B39F5E}" srcOrd="0" destOrd="0" presId="urn:microsoft.com/office/officeart/2008/layout/HorizontalMultiLevelHierarchy"/>
    <dgm:cxn modelId="{D6F4E31F-A43E-8C4D-8BBC-49633C919F6D}" type="presParOf" srcId="{6188AF91-8F5E-7F4E-A0A2-13FA32167F53}" destId="{21F2C295-F343-AC4A-8BE2-CFD4DAC170AE}" srcOrd="1" destOrd="0" presId="urn:microsoft.com/office/officeart/2008/layout/HorizontalMultiLevelHierarchy"/>
    <dgm:cxn modelId="{3448284B-7594-2C49-A55B-5EEDC4E7332B}" type="presParOf" srcId="{598DBB90-9C26-4C4B-AC1C-FF1827BF8D97}" destId="{A3F719CD-4C36-CF49-B90F-B8B40A2B29DE}" srcOrd="6" destOrd="0" presId="urn:microsoft.com/office/officeart/2008/layout/HorizontalMultiLevelHierarchy"/>
    <dgm:cxn modelId="{975AA364-319C-9D4E-9325-1AE1E8909702}" type="presParOf" srcId="{A3F719CD-4C36-CF49-B90F-B8B40A2B29DE}" destId="{348A166D-A55E-9147-99A1-FB87A4CF61A8}" srcOrd="0" destOrd="0" presId="urn:microsoft.com/office/officeart/2008/layout/HorizontalMultiLevelHierarchy"/>
    <dgm:cxn modelId="{D1FF7B8F-F29C-9B45-8B2F-D29356CDB150}" type="presParOf" srcId="{598DBB90-9C26-4C4B-AC1C-FF1827BF8D97}" destId="{175E4F2C-D898-EE44-A4E7-79846E237DB4}" srcOrd="7" destOrd="0" presId="urn:microsoft.com/office/officeart/2008/layout/HorizontalMultiLevelHierarchy"/>
    <dgm:cxn modelId="{2C88A3B2-502C-3B4A-AD07-F891601B6A7B}" type="presParOf" srcId="{175E4F2C-D898-EE44-A4E7-79846E237DB4}" destId="{921A596F-4B37-494E-B07C-17FD734C6406}" srcOrd="0" destOrd="0" presId="urn:microsoft.com/office/officeart/2008/layout/HorizontalMultiLevelHierarchy"/>
    <dgm:cxn modelId="{27503E03-B11B-F243-A067-50F93CB30950}" type="presParOf" srcId="{175E4F2C-D898-EE44-A4E7-79846E237DB4}" destId="{A9D518F9-DAB2-4E45-9ECB-39AA13A01564}" srcOrd="1" destOrd="0" presId="urn:microsoft.com/office/officeart/2008/layout/HorizontalMultiLevelHierarchy"/>
    <dgm:cxn modelId="{09161B98-7D52-374E-99A8-5705AEC0F945}" type="presParOf" srcId="{A9D518F9-DAB2-4E45-9ECB-39AA13A01564}" destId="{8AD8F429-D3CB-F748-A62E-81D3E0DD1FE1}" srcOrd="0" destOrd="0" presId="urn:microsoft.com/office/officeart/2008/layout/HorizontalMultiLevelHierarchy"/>
    <dgm:cxn modelId="{B84711B3-F228-9A4D-8C21-D0DB3CE88721}" type="presParOf" srcId="{8AD8F429-D3CB-F748-A62E-81D3E0DD1FE1}" destId="{27DD3461-0240-774A-8774-CC1A00541B61}" srcOrd="0" destOrd="0" presId="urn:microsoft.com/office/officeart/2008/layout/HorizontalMultiLevelHierarchy"/>
    <dgm:cxn modelId="{4A1C7A23-8D36-0440-AE8B-D7871695C948}" type="presParOf" srcId="{A9D518F9-DAB2-4E45-9ECB-39AA13A01564}" destId="{11FBA7F4-3D95-3448-9648-3CEA03AB03A5}" srcOrd="1" destOrd="0" presId="urn:microsoft.com/office/officeart/2008/layout/HorizontalMultiLevelHierarchy"/>
    <dgm:cxn modelId="{CD1C7ED9-1E4F-E34C-BDFD-002415D06847}" type="presParOf" srcId="{11FBA7F4-3D95-3448-9648-3CEA03AB03A5}" destId="{33CE7315-72E8-4545-9EC6-56F4D0BEC64D}" srcOrd="0" destOrd="0" presId="urn:microsoft.com/office/officeart/2008/layout/HorizontalMultiLevelHierarchy"/>
    <dgm:cxn modelId="{07070A3A-BA2C-D940-AA43-BD11C70E1A34}" type="presParOf" srcId="{11FBA7F4-3D95-3448-9648-3CEA03AB03A5}" destId="{F94ACA84-3A4A-0541-929E-9401CD7FB410}" srcOrd="1" destOrd="0" presId="urn:microsoft.com/office/officeart/2008/layout/HorizontalMultiLevelHierarchy"/>
    <dgm:cxn modelId="{93A0FCE7-EF80-5142-BD1A-53D8395BA6FF}" type="presParOf" srcId="{598DBB90-9C26-4C4B-AC1C-FF1827BF8D97}" destId="{33DDFCA5-CC66-CC45-A430-EDF4DA53BA93}" srcOrd="8" destOrd="0" presId="urn:microsoft.com/office/officeart/2008/layout/HorizontalMultiLevelHierarchy"/>
    <dgm:cxn modelId="{C431504E-F5C0-CB49-9C91-3C09AB94FDCD}" type="presParOf" srcId="{33DDFCA5-CC66-CC45-A430-EDF4DA53BA93}" destId="{569810E7-365A-FB48-A979-23DA3465EF4F}" srcOrd="0" destOrd="0" presId="urn:microsoft.com/office/officeart/2008/layout/HorizontalMultiLevelHierarchy"/>
    <dgm:cxn modelId="{D0DCC475-5D08-F744-82D9-EAE1016E0645}" type="presParOf" srcId="{598DBB90-9C26-4C4B-AC1C-FF1827BF8D97}" destId="{299D8B01-3ECB-7743-BE59-35C50BD6249A}" srcOrd="9" destOrd="0" presId="urn:microsoft.com/office/officeart/2008/layout/HorizontalMultiLevelHierarchy"/>
    <dgm:cxn modelId="{E8F23770-A286-3842-ACA5-93131A7CE60D}" type="presParOf" srcId="{299D8B01-3ECB-7743-BE59-35C50BD6249A}" destId="{03DEAF18-EC72-C047-A9B4-C65BE189F02C}" srcOrd="0" destOrd="0" presId="urn:microsoft.com/office/officeart/2008/layout/HorizontalMultiLevelHierarchy"/>
    <dgm:cxn modelId="{856AED2E-381D-584D-8270-9D94F860169A}" type="presParOf" srcId="{299D8B01-3ECB-7743-BE59-35C50BD6249A}" destId="{322C5A5A-9E25-6047-BB00-4DF750E135CE}" srcOrd="1" destOrd="0" presId="urn:microsoft.com/office/officeart/2008/layout/HorizontalMultiLevelHierarchy"/>
    <dgm:cxn modelId="{1358FF47-30BA-A241-8D38-F23D0D3D150D}" type="presParOf" srcId="{322C5A5A-9E25-6047-BB00-4DF750E135CE}" destId="{393A7F55-569D-7A48-ACE0-063418018375}" srcOrd="0" destOrd="0" presId="urn:microsoft.com/office/officeart/2008/layout/HorizontalMultiLevelHierarchy"/>
    <dgm:cxn modelId="{192B9C54-0D80-7647-9FF1-3D570462DAEF}" type="presParOf" srcId="{393A7F55-569D-7A48-ACE0-063418018375}" destId="{A635BF91-C219-EB46-A0CA-F8A2CE3D7BF3}" srcOrd="0" destOrd="0" presId="urn:microsoft.com/office/officeart/2008/layout/HorizontalMultiLevelHierarchy"/>
    <dgm:cxn modelId="{78ED78CC-04E2-9045-9223-21315500C22E}" type="presParOf" srcId="{322C5A5A-9E25-6047-BB00-4DF750E135CE}" destId="{55918953-A6CF-814A-89F9-551623EBC010}" srcOrd="1" destOrd="0" presId="urn:microsoft.com/office/officeart/2008/layout/HorizontalMultiLevelHierarchy"/>
    <dgm:cxn modelId="{125CC9F6-B01C-664C-9E8B-C027B482AB60}" type="presParOf" srcId="{55918953-A6CF-814A-89F9-551623EBC010}" destId="{448042B3-2CED-424C-815C-8FD3B3AD8A39}" srcOrd="0" destOrd="0" presId="urn:microsoft.com/office/officeart/2008/layout/HorizontalMultiLevelHierarchy"/>
    <dgm:cxn modelId="{151226A5-8B24-B244-B032-655D8C6EBBAE}" type="presParOf" srcId="{55918953-A6CF-814A-89F9-551623EBC010}" destId="{4C59A0B4-1525-104C-AAB2-E79163983336}" srcOrd="1" destOrd="0" presId="urn:microsoft.com/office/officeart/2008/layout/HorizontalMultiLevelHierarchy"/>
    <dgm:cxn modelId="{F48D1E8B-49A4-F94E-A53D-FFC016F39B04}" type="presParOf" srcId="{322C5A5A-9E25-6047-BB00-4DF750E135CE}" destId="{64F502CF-3E90-0B4E-886C-91AB3F51938D}" srcOrd="2" destOrd="0" presId="urn:microsoft.com/office/officeart/2008/layout/HorizontalMultiLevelHierarchy"/>
    <dgm:cxn modelId="{748991C3-04D3-A049-9360-87AE3B231286}" type="presParOf" srcId="{64F502CF-3E90-0B4E-886C-91AB3F51938D}" destId="{6FA82A28-C585-714B-9AF5-DA995FB3DF53}" srcOrd="0" destOrd="0" presId="urn:microsoft.com/office/officeart/2008/layout/HorizontalMultiLevelHierarchy"/>
    <dgm:cxn modelId="{60A660D9-EB41-B14F-AF08-FBF726E3EE6A}" type="presParOf" srcId="{322C5A5A-9E25-6047-BB00-4DF750E135CE}" destId="{EC8B6A62-9FAE-5045-A1A4-029DC2356DF7}" srcOrd="3" destOrd="0" presId="urn:microsoft.com/office/officeart/2008/layout/HorizontalMultiLevelHierarchy"/>
    <dgm:cxn modelId="{C895CBFB-4623-0A45-B625-9F0093312487}" type="presParOf" srcId="{EC8B6A62-9FAE-5045-A1A4-029DC2356DF7}" destId="{F9B786D6-8B73-AC47-BEA7-3780A17C3E39}" srcOrd="0" destOrd="0" presId="urn:microsoft.com/office/officeart/2008/layout/HorizontalMultiLevelHierarchy"/>
    <dgm:cxn modelId="{1138343A-C144-6B44-AE97-B7EA360892D9}" type="presParOf" srcId="{EC8B6A62-9FAE-5045-A1A4-029DC2356DF7}" destId="{6E27147E-0C63-E041-AB6B-5C0E60851726}" srcOrd="1" destOrd="0" presId="urn:microsoft.com/office/officeart/2008/layout/HorizontalMultiLevelHierarchy"/>
    <dgm:cxn modelId="{45E69731-2381-2A4E-805F-6206A1F14709}" type="presParOf" srcId="{598DBB90-9C26-4C4B-AC1C-FF1827BF8D97}" destId="{60914178-E972-6747-98A5-9B1042D21399}" srcOrd="10" destOrd="0" presId="urn:microsoft.com/office/officeart/2008/layout/HorizontalMultiLevelHierarchy"/>
    <dgm:cxn modelId="{E6FE9071-12DA-AC40-9064-6B2C88BD9648}" type="presParOf" srcId="{60914178-E972-6747-98A5-9B1042D21399}" destId="{03FF4E40-A0E8-E040-A52F-D68379DCC349}" srcOrd="0" destOrd="0" presId="urn:microsoft.com/office/officeart/2008/layout/HorizontalMultiLevelHierarchy"/>
    <dgm:cxn modelId="{770B8CBE-DF43-D649-B4D7-E1E340C58A90}" type="presParOf" srcId="{598DBB90-9C26-4C4B-AC1C-FF1827BF8D97}" destId="{82D22835-936A-1D4B-AF7A-2D86C6FB8621}" srcOrd="11" destOrd="0" presId="urn:microsoft.com/office/officeart/2008/layout/HorizontalMultiLevelHierarchy"/>
    <dgm:cxn modelId="{6EBB1816-7FC4-9640-879F-77ADB7F5F0AA}" type="presParOf" srcId="{82D22835-936A-1D4B-AF7A-2D86C6FB8621}" destId="{4D444EFA-484D-8B49-B53F-73AE5DAC83CB}" srcOrd="0" destOrd="0" presId="urn:microsoft.com/office/officeart/2008/layout/HorizontalMultiLevelHierarchy"/>
    <dgm:cxn modelId="{4D64E67E-82E2-4449-BABB-D8189386F56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304A53B-62B7-8345-A277-C0FD6BFABCD4}" type="presOf" srcId="{90FBF026-5068-6043-A75B-344D047E346D}" destId="{2242491C-75CB-654B-ABCA-74AF8E25B4E8}" srcOrd="0" destOrd="0" presId="urn:microsoft.com/office/officeart/2008/layout/HorizontalMultiLevelHierarchy"/>
    <dgm:cxn modelId="{1B77B7D0-1377-4F43-9789-4FAE424C33BF}" type="presOf" srcId="{C0976C3D-B466-7D45-ABFB-2E3685B2F19C}" destId="{D35EA19E-870C-2F44-A620-E6B51FB20589}" srcOrd="0" destOrd="0" presId="urn:microsoft.com/office/officeart/2008/layout/HorizontalMultiLevelHierarchy"/>
    <dgm:cxn modelId="{74FC30DE-46A2-C34D-979D-D48F11145295}" type="presOf" srcId="{5E2A7D5A-EFB6-9C4F-A960-3D6903C39497}" destId="{1442578F-E924-E34F-9FA5-3F4C2CF65BC9}" srcOrd="0" destOrd="0" presId="urn:microsoft.com/office/officeart/2008/layout/HorizontalMultiLevelHierarchy"/>
    <dgm:cxn modelId="{D3C087E1-7BF3-EF49-BD12-FA66F0BB4A27}" type="presOf" srcId="{5E2A7D5A-EFB6-9C4F-A960-3D6903C39497}" destId="{E59B7B1E-3287-FB43-A405-2A84667315EC}" srcOrd="1" destOrd="0" presId="urn:microsoft.com/office/officeart/2008/layout/HorizontalMultiLevelHierarchy"/>
    <dgm:cxn modelId="{7F4082DD-85FB-B84A-8ECF-54D28637B4E9}" type="presOf" srcId="{07A4D93E-7AFB-4E4D-8384-CFBE7085BD56}" destId="{42308E2A-E89A-524C-8598-CEBE02495F63}" srcOrd="0" destOrd="0" presId="urn:microsoft.com/office/officeart/2008/layout/HorizontalMultiLevelHierarchy"/>
    <dgm:cxn modelId="{1700ADB9-1DF2-1E48-9A2F-3FE3C9A94618}" type="presOf" srcId="{990267CF-EA89-A240-9514-9AFC12BBADEE}" destId="{03DEAF18-EC72-C047-A9B4-C65BE189F02C}" srcOrd="0" destOrd="0" presId="urn:microsoft.com/office/officeart/2008/layout/HorizontalMultiLevelHierarchy"/>
    <dgm:cxn modelId="{ADDA8FAD-6C86-B84E-BC7E-EFFAB62DC2A0}" type="presOf" srcId="{6577C284-4D20-2C4A-88D4-29EB6FEAC9C2}" destId="{348A166D-A55E-9147-99A1-FB87A4CF61A8}" srcOrd="1" destOrd="0" presId="urn:microsoft.com/office/officeart/2008/layout/HorizontalMultiLevelHierarchy"/>
    <dgm:cxn modelId="{AC6E0C17-7A07-A442-8B77-AC2DE61BC064}" type="presOf" srcId="{0726F871-37F4-AB40-AF73-6656D7E9C85D}" destId="{613226CB-11A4-C549-82A6-64B9BCFE1002}" srcOrd="0" destOrd="0" presId="urn:microsoft.com/office/officeart/2008/layout/HorizontalMultiLevelHierarchy"/>
    <dgm:cxn modelId="{277910A9-6C50-0446-9D29-B96BD1057EB4}" type="presOf" srcId="{73DD7058-02B4-D24C-9D13-AF75375EF8E6}" destId="{55365CED-83D4-194F-A914-2CFC37CD9B45}" srcOrd="0" destOrd="0" presId="urn:microsoft.com/office/officeart/2008/layout/HorizontalMultiLevelHierarchy"/>
    <dgm:cxn modelId="{062D9327-C6AE-D944-8324-1641679FFE40}" type="presOf" srcId="{B8771036-12B2-D843-AA17-BB631BA3F87D}" destId="{F9B786D6-8B73-AC47-BEA7-3780A17C3E39}" srcOrd="0" destOrd="0" presId="urn:microsoft.com/office/officeart/2008/layout/HorizontalMultiLevelHierarchy"/>
    <dgm:cxn modelId="{86194944-9D73-5546-B724-4C7BC08EE327}" type="presOf" srcId="{EF2BFDE9-4D1F-3049-B62C-65BE59459C50}" destId="{5167760A-1265-4C43-B02A-4A72B3B39F5E}" srcOrd="0" destOrd="0" presId="urn:microsoft.com/office/officeart/2008/layout/HorizontalMultiLevelHierarchy"/>
    <dgm:cxn modelId="{D2738650-CCDC-4042-B5FC-942CDF9D03C5}" type="presOf" srcId="{134C8002-4160-B046-917F-B9172D6D011E}" destId="{33DDFCA5-CC66-CC45-A430-EDF4DA53BA93}" srcOrd="0" destOrd="0" presId="urn:microsoft.com/office/officeart/2008/layout/HorizontalMultiLevelHierarchy"/>
    <dgm:cxn modelId="{661DC469-B8DD-FB4C-968E-F62CAD34A02B}" type="presOf" srcId="{90FBF026-5068-6043-A75B-344D047E346D}" destId="{62990B64-CF79-7146-BF7B-48A759C6E310}" srcOrd="1" destOrd="0" presId="urn:microsoft.com/office/officeart/2008/layout/HorizontalMultiLevelHierarchy"/>
    <dgm:cxn modelId="{9E982B91-7FAF-9440-A398-654F7441057A}" type="presOf" srcId="{63D1AE09-4F57-A443-A1FD-2A3034962097}" destId="{B7A5E06F-5B4B-C947-BFA6-C1FA5998CE54}" srcOrd="0" destOrd="0" presId="urn:microsoft.com/office/officeart/2008/layout/HorizontalMultiLevelHierarchy"/>
    <dgm:cxn modelId="{FD7D0FF7-4F91-C44F-B56C-3F0227FE0310}" type="presOf" srcId="{B4B50EEB-1538-DF45-B07F-7D0FD83C8ED3}" destId="{7C4C248C-9225-884B-A9F0-E626AEAE24C9}" srcOrd="1" destOrd="0" presId="urn:microsoft.com/office/officeart/2008/layout/HorizontalMultiLevelHierarchy"/>
    <dgm:cxn modelId="{B3F3183D-ABA7-8941-8CC3-06307F9932AC}" type="presOf" srcId="{11D7D97A-F1CC-6A49-92BA-1094CF9B8EE3}" destId="{84732D04-01E1-2742-A082-1195BCDCDEC2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983976C9-AA49-B747-8D4D-A21211F30274}" type="presOf" srcId="{26144DC7-9794-3E4B-BF8F-331E25884D5F}" destId="{921A596F-4B37-494E-B07C-17FD734C6406}" srcOrd="0" destOrd="0" presId="urn:microsoft.com/office/officeart/2008/layout/HorizontalMultiLevelHierarchy"/>
    <dgm:cxn modelId="{05B3A383-287C-F745-9E83-66F3F7F0D450}" type="presOf" srcId="{1333B56B-0FB7-DB46-BFA8-14BA9E09141B}" destId="{9E30CAA0-C8DA-7340-9AC5-F7AFBAE25743}" srcOrd="0" destOrd="0" presId="urn:microsoft.com/office/officeart/2008/layout/HorizontalMultiLevelHierarchy"/>
    <dgm:cxn modelId="{526174D9-1306-054B-A09D-ADFC54531227}" type="presOf" srcId="{5ADEDBF8-717E-F946-B11E-4CC50D9988C8}" destId="{D778007E-9974-2C41-910F-E1E5562B090A}" srcOrd="0" destOrd="0" presId="urn:microsoft.com/office/officeart/2008/layout/HorizontalMultiLevelHierarchy"/>
    <dgm:cxn modelId="{DF521A14-3D63-B04D-8E29-B2F663F077CC}" type="presOf" srcId="{8B212141-5DD9-384A-A240-561E72DAAF7B}" destId="{21C89BDE-E13D-974B-B17D-6B6CDBB2C8DB}" srcOrd="0" destOrd="0" presId="urn:microsoft.com/office/officeart/2008/layout/HorizontalMultiLevelHierarchy"/>
    <dgm:cxn modelId="{CDE5372B-75EC-E546-BFDC-9C67CE244D2B}" type="presOf" srcId="{73DD7058-02B4-D24C-9D13-AF75375EF8E6}" destId="{12E46C15-0F90-7843-8745-7EFB583D5A38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0EE2BAF-6EA4-DF45-BA72-635F74A663C0}" type="presOf" srcId="{BA9C693C-1CF5-6E4E-A8C4-1E304AFD6DF5}" destId="{99E936FD-8649-9640-96D2-9202E1CEC417}" srcOrd="0" destOrd="0" presId="urn:microsoft.com/office/officeart/2008/layout/HorizontalMultiLevelHierarchy"/>
    <dgm:cxn modelId="{9053A36F-999D-064B-8817-438ECBE22BF4}" type="presOf" srcId="{5ADEDBF8-717E-F946-B11E-4CC50D9988C8}" destId="{AB33012A-8C54-6245-96E8-E0111C081E33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50CD20B5-AB4C-3F4B-85F2-3BC4B030A633}" type="presOf" srcId="{BBD19103-9913-2A49-AB85-F021773D5328}" destId="{6FA82A28-C585-714B-9AF5-DA995FB3DF53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31B7B8C-069C-7F47-BF5B-72F6DD361E7D}" type="presOf" srcId="{516F75D9-69F5-0544-995D-CFB72352B59F}" destId="{887F982A-9047-D440-AFAC-0FD9C008886A}" srcOrd="0" destOrd="0" presId="urn:microsoft.com/office/officeart/2008/layout/HorizontalMultiLevelHierarchy"/>
    <dgm:cxn modelId="{8B9AC226-4C82-ED47-B512-136D44C64712}" type="presOf" srcId="{B4B50EEB-1538-DF45-B07F-7D0FD83C8ED3}" destId="{91975744-72FE-E947-98E3-ECF3B2E7C3DC}" srcOrd="0" destOrd="0" presId="urn:microsoft.com/office/officeart/2008/layout/HorizontalMultiLevelHierarchy"/>
    <dgm:cxn modelId="{5C175B21-6316-C147-B5A8-604113F744E4}" type="presOf" srcId="{08733529-A5F0-F14D-8E75-74214329B040}" destId="{393A7F55-569D-7A48-ACE0-06341801837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4090FCF-3202-D746-A7AD-BF137E4E8966}" type="presOf" srcId="{07A4D93E-7AFB-4E4D-8384-CFBE7085BD56}" destId="{9D34DFA2-4C7C-5642-ADF0-8F3EDFBC71AF}" srcOrd="1" destOrd="0" presId="urn:microsoft.com/office/officeart/2008/layout/HorizontalMultiLevelHierarchy"/>
    <dgm:cxn modelId="{98608B0D-AA40-7044-93E8-B5351E443295}" type="presOf" srcId="{134C8002-4160-B046-917F-B9172D6D011E}" destId="{569810E7-365A-FB48-A979-23DA3465EF4F}" srcOrd="1" destOrd="0" presId="urn:microsoft.com/office/officeart/2008/layout/HorizontalMultiLevelHierarchy"/>
    <dgm:cxn modelId="{D3A36791-14AC-7340-95A7-0170CC22E773}" type="presOf" srcId="{174F7A28-653D-6F45-9860-935E35504EE1}" destId="{4D444EFA-484D-8B49-B53F-73AE5DAC83CB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95D1355-69DF-EF4F-8384-D3DB23EF5E94}" type="presOf" srcId="{80BD7623-DCEC-2448-AB85-7A6B177B6EBB}" destId="{73B69BAE-7567-8E4E-A9B2-D2862F6B978E}" srcOrd="0" destOrd="0" presId="urn:microsoft.com/office/officeart/2008/layout/HorizontalMultiLevelHierarchy"/>
    <dgm:cxn modelId="{32DDE5B3-36DA-274A-ABBF-BB6BA3B47E8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9753F88-37E4-584D-8D74-0CD5323AA803}" type="presOf" srcId="{63D1AE09-4F57-A443-A1FD-2A3034962097}" destId="{04D949B2-6FA5-4948-B335-DDA85E4E65B1}" srcOrd="1" destOrd="0" presId="urn:microsoft.com/office/officeart/2008/layout/HorizontalMultiLevelHierarchy"/>
    <dgm:cxn modelId="{0E02A7DB-0169-0545-9AEB-A39A034D31FE}" type="presOf" srcId="{7E0C02E8-17C2-874D-B6DE-8E3A1D3437C9}" destId="{448042B3-2CED-424C-815C-8FD3B3AD8A39}" srcOrd="0" destOrd="0" presId="urn:microsoft.com/office/officeart/2008/layout/HorizontalMultiLevelHierarchy"/>
    <dgm:cxn modelId="{46D02A56-96DA-E84F-A539-74DB6346CC54}" type="presOf" srcId="{B3C905E3-C669-9942-AEC9-21A47474CEB4}" destId="{996189F3-00B3-7D49-A5FC-5430A26FB618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9A6B20C3-6EF2-E14D-B7AF-798DCA0D72B8}" type="presOf" srcId="{08733529-A5F0-F14D-8E75-74214329B040}" destId="{A635BF91-C219-EB46-A0CA-F8A2CE3D7BF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31E9F50-A604-5E45-B065-48CAE1C365B7}" type="presOf" srcId="{9EB1846C-ABB5-9E44-B030-7BE73C498E59}" destId="{03FF4E40-A0E8-E040-A52F-D68379DCC349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33F5AFA7-86E6-3347-8805-278C0D1B01FF}" type="presOf" srcId="{BBD19103-9913-2A49-AB85-F021773D5328}" destId="{64F502CF-3E90-0B4E-886C-91AB3F51938D}" srcOrd="0" destOrd="0" presId="urn:microsoft.com/office/officeart/2008/layout/HorizontalMultiLevelHierarchy"/>
    <dgm:cxn modelId="{24DB5045-32F0-1F49-BFE8-11564438C002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C5A0D7F1-77E9-0146-AA91-8FA93A37E7EC}" type="presOf" srcId="{B3C905E3-C669-9942-AEC9-21A47474CEB4}" destId="{DB79995B-B315-9C4C-BCA0-97AF2CF960CD}" srcOrd="1" destOrd="0" presId="urn:microsoft.com/office/officeart/2008/layout/HorizontalMultiLevelHierarchy"/>
    <dgm:cxn modelId="{93570466-B95A-DD4E-846C-F7810FB1A8BE}" type="presOf" srcId="{9EB1846C-ABB5-9E44-B030-7BE73C498E59}" destId="{60914178-E972-6747-98A5-9B1042D2139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DCD57C4E-77E2-8E4F-A46E-E99E094218F1}" type="presParOf" srcId="{613226CB-11A4-C549-82A6-64B9BCFE1002}" destId="{3BA40406-1E55-1642-A22A-B49F5A173AC8}" srcOrd="0" destOrd="0" presId="urn:microsoft.com/office/officeart/2008/layout/HorizontalMultiLevelHierarchy"/>
    <dgm:cxn modelId="{89AF905D-140E-6049-A5CB-884369FEFF41}" type="presParOf" srcId="{3BA40406-1E55-1642-A22A-B49F5A173AC8}" destId="{99E936FD-8649-9640-96D2-9202E1CEC417}" srcOrd="0" destOrd="0" presId="urn:microsoft.com/office/officeart/2008/layout/HorizontalMultiLevelHierarchy"/>
    <dgm:cxn modelId="{7AD8C177-A517-2E42-9EA9-A96C7D6AE848}" type="presParOf" srcId="{3BA40406-1E55-1642-A22A-B49F5A173AC8}" destId="{598DBB90-9C26-4C4B-AC1C-FF1827BF8D97}" srcOrd="1" destOrd="0" presId="urn:microsoft.com/office/officeart/2008/layout/HorizontalMultiLevelHierarchy"/>
    <dgm:cxn modelId="{43CFD43E-E162-A947-8F1D-77943273B2A7}" type="presParOf" srcId="{598DBB90-9C26-4C4B-AC1C-FF1827BF8D97}" destId="{D778007E-9974-2C41-910F-E1E5562B090A}" srcOrd="0" destOrd="0" presId="urn:microsoft.com/office/officeart/2008/layout/HorizontalMultiLevelHierarchy"/>
    <dgm:cxn modelId="{DFECB1C2-F1B1-D44F-AF82-8546FDCEF501}" type="presParOf" srcId="{D778007E-9974-2C41-910F-E1E5562B090A}" destId="{AB33012A-8C54-6245-96E8-E0111C081E33}" srcOrd="0" destOrd="0" presId="urn:microsoft.com/office/officeart/2008/layout/HorizontalMultiLevelHierarchy"/>
    <dgm:cxn modelId="{13D89918-3EBC-AD4A-8F0B-1F95A683AC3F}" type="presParOf" srcId="{598DBB90-9C26-4C4B-AC1C-FF1827BF8D97}" destId="{BCA6FE17-8DB6-0242-A6E4-C7D3971EBD97}" srcOrd="1" destOrd="0" presId="urn:microsoft.com/office/officeart/2008/layout/HorizontalMultiLevelHierarchy"/>
    <dgm:cxn modelId="{2E8F2306-9299-6844-84B7-A590831278F2}" type="presParOf" srcId="{BCA6FE17-8DB6-0242-A6E4-C7D3971EBD97}" destId="{5E781A07-1968-A143-88EC-827822313B55}" srcOrd="0" destOrd="0" presId="urn:microsoft.com/office/officeart/2008/layout/HorizontalMultiLevelHierarchy"/>
    <dgm:cxn modelId="{3A714338-5BDF-F940-8E4E-857E6261F7BD}" type="presParOf" srcId="{BCA6FE17-8DB6-0242-A6E4-C7D3971EBD97}" destId="{BDDED42C-20CE-EF4E-85AA-7830E9428B23}" srcOrd="1" destOrd="0" presId="urn:microsoft.com/office/officeart/2008/layout/HorizontalMultiLevelHierarchy"/>
    <dgm:cxn modelId="{2B074ACD-D472-9442-959A-B9FB977D67B8}" type="presParOf" srcId="{598DBB90-9C26-4C4B-AC1C-FF1827BF8D97}" destId="{B7A5E06F-5B4B-C947-BFA6-C1FA5998CE54}" srcOrd="2" destOrd="0" presId="urn:microsoft.com/office/officeart/2008/layout/HorizontalMultiLevelHierarchy"/>
    <dgm:cxn modelId="{DA20DC4D-82F3-6E48-AC31-1B5749C712E5}" type="presParOf" srcId="{B7A5E06F-5B4B-C947-BFA6-C1FA5998CE54}" destId="{04D949B2-6FA5-4948-B335-DDA85E4E65B1}" srcOrd="0" destOrd="0" presId="urn:microsoft.com/office/officeart/2008/layout/HorizontalMultiLevelHierarchy"/>
    <dgm:cxn modelId="{51D60242-F606-1145-BCDA-48218463B7E8}" type="presParOf" srcId="{598DBB90-9C26-4C4B-AC1C-FF1827BF8D97}" destId="{5B0B9041-BDB4-7141-9957-0BEAFB33AEFE}" srcOrd="3" destOrd="0" presId="urn:microsoft.com/office/officeart/2008/layout/HorizontalMultiLevelHierarchy"/>
    <dgm:cxn modelId="{C5A4CE61-22E4-F845-9BCF-43520DEEE1FF}" type="presParOf" srcId="{5B0B9041-BDB4-7141-9957-0BEAFB33AEFE}" destId="{D35EA19E-870C-2F44-A620-E6B51FB20589}" srcOrd="0" destOrd="0" presId="urn:microsoft.com/office/officeart/2008/layout/HorizontalMultiLevelHierarchy"/>
    <dgm:cxn modelId="{3C476CF6-F892-5A41-A296-72DD14EFFFF4}" type="presParOf" srcId="{5B0B9041-BDB4-7141-9957-0BEAFB33AEFE}" destId="{62348515-9687-1045-ADA1-3184EC8CEC61}" srcOrd="1" destOrd="0" presId="urn:microsoft.com/office/officeart/2008/layout/HorizontalMultiLevelHierarchy"/>
    <dgm:cxn modelId="{616A3384-7B8D-B643-B843-5C40AD0D2C8B}" type="presParOf" srcId="{598DBB90-9C26-4C4B-AC1C-FF1827BF8D97}" destId="{42308E2A-E89A-524C-8598-CEBE02495F63}" srcOrd="4" destOrd="0" presId="urn:microsoft.com/office/officeart/2008/layout/HorizontalMultiLevelHierarchy"/>
    <dgm:cxn modelId="{3746F9B8-5B1A-D04A-A149-429CC5A11565}" type="presParOf" srcId="{42308E2A-E89A-524C-8598-CEBE02495F63}" destId="{9D34DFA2-4C7C-5642-ADF0-8F3EDFBC71AF}" srcOrd="0" destOrd="0" presId="urn:microsoft.com/office/officeart/2008/layout/HorizontalMultiLevelHierarchy"/>
    <dgm:cxn modelId="{56979C08-3DA3-ED4A-8801-8527428F0D65}" type="presParOf" srcId="{598DBB90-9C26-4C4B-AC1C-FF1827BF8D97}" destId="{5A37FE29-273D-2F4A-BA74-A981AFDF7035}" srcOrd="5" destOrd="0" presId="urn:microsoft.com/office/officeart/2008/layout/HorizontalMultiLevelHierarchy"/>
    <dgm:cxn modelId="{29EF8E4B-6462-FC45-802F-B4EF9B932477}" type="presParOf" srcId="{5A37FE29-273D-2F4A-BA74-A981AFDF7035}" destId="{887F982A-9047-D440-AFAC-0FD9C008886A}" srcOrd="0" destOrd="0" presId="urn:microsoft.com/office/officeart/2008/layout/HorizontalMultiLevelHierarchy"/>
    <dgm:cxn modelId="{C709D0AC-E582-9848-B6F9-CB3BCD73D707}" type="presParOf" srcId="{5A37FE29-273D-2F4A-BA74-A981AFDF7035}" destId="{740B7AF0-357F-C843-8A5C-C85C349471AE}" srcOrd="1" destOrd="0" presId="urn:microsoft.com/office/officeart/2008/layout/HorizontalMultiLevelHierarchy"/>
    <dgm:cxn modelId="{400FB349-608D-8242-918B-52B5A9344D0C}" type="presParOf" srcId="{598DBB90-9C26-4C4B-AC1C-FF1827BF8D97}" destId="{996189F3-00B3-7D49-A5FC-5430A26FB618}" srcOrd="6" destOrd="0" presId="urn:microsoft.com/office/officeart/2008/layout/HorizontalMultiLevelHierarchy"/>
    <dgm:cxn modelId="{E3EE9703-9289-CF45-997E-7E8149A69F6F}" type="presParOf" srcId="{996189F3-00B3-7D49-A5FC-5430A26FB618}" destId="{DB79995B-B315-9C4C-BCA0-97AF2CF960CD}" srcOrd="0" destOrd="0" presId="urn:microsoft.com/office/officeart/2008/layout/HorizontalMultiLevelHierarchy"/>
    <dgm:cxn modelId="{8D380513-7668-124F-B714-6BEC519AA5B3}" type="presParOf" srcId="{598DBB90-9C26-4C4B-AC1C-FF1827BF8D97}" destId="{7361FCA1-91C1-7340-94A4-772CB0377746}" srcOrd="7" destOrd="0" presId="urn:microsoft.com/office/officeart/2008/layout/HorizontalMultiLevelHierarchy"/>
    <dgm:cxn modelId="{D9F1F08A-E537-EC43-8E72-40362F036194}" type="presParOf" srcId="{7361FCA1-91C1-7340-94A4-772CB0377746}" destId="{9E30CAA0-C8DA-7340-9AC5-F7AFBAE25743}" srcOrd="0" destOrd="0" presId="urn:microsoft.com/office/officeart/2008/layout/HorizontalMultiLevelHierarchy"/>
    <dgm:cxn modelId="{280CD8DE-DF92-B74D-82AA-8E2A1D81F40D}" type="presParOf" srcId="{7361FCA1-91C1-7340-94A4-772CB0377746}" destId="{75AE1B1C-8672-CF47-8665-1AE6D32AB23F}" srcOrd="1" destOrd="0" presId="urn:microsoft.com/office/officeart/2008/layout/HorizontalMultiLevelHierarchy"/>
    <dgm:cxn modelId="{AE13932C-8CC6-8740-ABEE-39587AF466EB}" type="presParOf" srcId="{598DBB90-9C26-4C4B-AC1C-FF1827BF8D97}" destId="{1442578F-E924-E34F-9FA5-3F4C2CF65BC9}" srcOrd="8" destOrd="0" presId="urn:microsoft.com/office/officeart/2008/layout/HorizontalMultiLevelHierarchy"/>
    <dgm:cxn modelId="{73B83040-3FEF-C442-8DE7-F67415333B7C}" type="presParOf" srcId="{1442578F-E924-E34F-9FA5-3F4C2CF65BC9}" destId="{E59B7B1E-3287-FB43-A405-2A84667315EC}" srcOrd="0" destOrd="0" presId="urn:microsoft.com/office/officeart/2008/layout/HorizontalMultiLevelHierarchy"/>
    <dgm:cxn modelId="{550054A5-8899-B444-AF69-A671CC1AB7F2}" type="presParOf" srcId="{598DBB90-9C26-4C4B-AC1C-FF1827BF8D97}" destId="{6188AF91-8F5E-7F4E-A0A2-13FA32167F53}" srcOrd="9" destOrd="0" presId="urn:microsoft.com/office/officeart/2008/layout/HorizontalMultiLevelHierarchy"/>
    <dgm:cxn modelId="{0FAA59CB-DDE5-5144-86BD-CE01D1C10E07}" type="presParOf" srcId="{6188AF91-8F5E-7F4E-A0A2-13FA32167F53}" destId="{5167760A-1265-4C43-B02A-4A72B3B39F5E}" srcOrd="0" destOrd="0" presId="urn:microsoft.com/office/officeart/2008/layout/HorizontalMultiLevelHierarchy"/>
    <dgm:cxn modelId="{B24FDA7F-140A-9944-B010-9A84DC99BB11}" type="presParOf" srcId="{6188AF91-8F5E-7F4E-A0A2-13FA32167F53}" destId="{21F2C295-F343-AC4A-8BE2-CFD4DAC170AE}" srcOrd="1" destOrd="0" presId="urn:microsoft.com/office/officeart/2008/layout/HorizontalMultiLevelHierarchy"/>
    <dgm:cxn modelId="{2492909D-0CC7-DF47-8850-75E928DF8AFC}" type="presParOf" srcId="{598DBB90-9C26-4C4B-AC1C-FF1827BF8D97}" destId="{A3F719CD-4C36-CF49-B90F-B8B40A2B29DE}" srcOrd="10" destOrd="0" presId="urn:microsoft.com/office/officeart/2008/layout/HorizontalMultiLevelHierarchy"/>
    <dgm:cxn modelId="{F9347255-20FF-FE47-8ECE-C9F356F61053}" type="presParOf" srcId="{A3F719CD-4C36-CF49-B90F-B8B40A2B29DE}" destId="{348A166D-A55E-9147-99A1-FB87A4CF61A8}" srcOrd="0" destOrd="0" presId="urn:microsoft.com/office/officeart/2008/layout/HorizontalMultiLevelHierarchy"/>
    <dgm:cxn modelId="{76B2D6F9-5328-6A4E-88D5-3D08FEC5951A}" type="presParOf" srcId="{598DBB90-9C26-4C4B-AC1C-FF1827BF8D97}" destId="{175E4F2C-D898-EE44-A4E7-79846E237DB4}" srcOrd="11" destOrd="0" presId="urn:microsoft.com/office/officeart/2008/layout/HorizontalMultiLevelHierarchy"/>
    <dgm:cxn modelId="{7337268F-EBF4-E94D-94AF-3E42F51AB69E}" type="presParOf" srcId="{175E4F2C-D898-EE44-A4E7-79846E237DB4}" destId="{921A596F-4B37-494E-B07C-17FD734C6406}" srcOrd="0" destOrd="0" presId="urn:microsoft.com/office/officeart/2008/layout/HorizontalMultiLevelHierarchy"/>
    <dgm:cxn modelId="{9980DE55-0329-3C47-B203-44BAC4E0B837}" type="presParOf" srcId="{175E4F2C-D898-EE44-A4E7-79846E237DB4}" destId="{A9D518F9-DAB2-4E45-9ECB-39AA13A01564}" srcOrd="1" destOrd="0" presId="urn:microsoft.com/office/officeart/2008/layout/HorizontalMultiLevelHierarchy"/>
    <dgm:cxn modelId="{C00E2BEB-AC11-0B47-A33F-CA89B9F4A645}" type="presParOf" srcId="{598DBB90-9C26-4C4B-AC1C-FF1827BF8D97}" destId="{33DDFCA5-CC66-CC45-A430-EDF4DA53BA93}" srcOrd="12" destOrd="0" presId="urn:microsoft.com/office/officeart/2008/layout/HorizontalMultiLevelHierarchy"/>
    <dgm:cxn modelId="{D8F37C64-390A-5043-969D-16B4E119A56B}" type="presParOf" srcId="{33DDFCA5-CC66-CC45-A430-EDF4DA53BA93}" destId="{569810E7-365A-FB48-A979-23DA3465EF4F}" srcOrd="0" destOrd="0" presId="urn:microsoft.com/office/officeart/2008/layout/HorizontalMultiLevelHierarchy"/>
    <dgm:cxn modelId="{DA46E64E-DBC1-8F45-A075-6E6E3A8848D8}" type="presParOf" srcId="{598DBB90-9C26-4C4B-AC1C-FF1827BF8D97}" destId="{299D8B01-3ECB-7743-BE59-35C50BD6249A}" srcOrd="13" destOrd="0" presId="urn:microsoft.com/office/officeart/2008/layout/HorizontalMultiLevelHierarchy"/>
    <dgm:cxn modelId="{1BB1CFC4-51B1-E340-AC8C-8065D749460C}" type="presParOf" srcId="{299D8B01-3ECB-7743-BE59-35C50BD6249A}" destId="{03DEAF18-EC72-C047-A9B4-C65BE189F02C}" srcOrd="0" destOrd="0" presId="urn:microsoft.com/office/officeart/2008/layout/HorizontalMultiLevelHierarchy"/>
    <dgm:cxn modelId="{36C80F5C-B6A6-2A4B-83DF-6A492846F72C}" type="presParOf" srcId="{299D8B01-3ECB-7743-BE59-35C50BD6249A}" destId="{322C5A5A-9E25-6047-BB00-4DF750E135CE}" srcOrd="1" destOrd="0" presId="urn:microsoft.com/office/officeart/2008/layout/HorizontalMultiLevelHierarchy"/>
    <dgm:cxn modelId="{815A2763-7AE9-074B-9292-333B6067A8B8}" type="presParOf" srcId="{322C5A5A-9E25-6047-BB00-4DF750E135CE}" destId="{393A7F55-569D-7A48-ACE0-063418018375}" srcOrd="0" destOrd="0" presId="urn:microsoft.com/office/officeart/2008/layout/HorizontalMultiLevelHierarchy"/>
    <dgm:cxn modelId="{AB99509D-AADF-8A42-89AB-9B8131CD95CD}" type="presParOf" srcId="{393A7F55-569D-7A48-ACE0-063418018375}" destId="{A635BF91-C219-EB46-A0CA-F8A2CE3D7BF3}" srcOrd="0" destOrd="0" presId="urn:microsoft.com/office/officeart/2008/layout/HorizontalMultiLevelHierarchy"/>
    <dgm:cxn modelId="{F1960AF8-854A-4F4C-BE17-0E5BD6EE69CB}" type="presParOf" srcId="{322C5A5A-9E25-6047-BB00-4DF750E135CE}" destId="{55918953-A6CF-814A-89F9-551623EBC010}" srcOrd="1" destOrd="0" presId="urn:microsoft.com/office/officeart/2008/layout/HorizontalMultiLevelHierarchy"/>
    <dgm:cxn modelId="{748B8189-D30A-8C47-9E31-4CDB7EB5C309}" type="presParOf" srcId="{55918953-A6CF-814A-89F9-551623EBC010}" destId="{448042B3-2CED-424C-815C-8FD3B3AD8A39}" srcOrd="0" destOrd="0" presId="urn:microsoft.com/office/officeart/2008/layout/HorizontalMultiLevelHierarchy"/>
    <dgm:cxn modelId="{FC466FF4-507A-2F4F-A6FB-D5FE4F348DBF}" type="presParOf" srcId="{55918953-A6CF-814A-89F9-551623EBC010}" destId="{4C59A0B4-1525-104C-AAB2-E79163983336}" srcOrd="1" destOrd="0" presId="urn:microsoft.com/office/officeart/2008/layout/HorizontalMultiLevelHierarchy"/>
    <dgm:cxn modelId="{682A336D-6B45-5D44-86D1-93F2ACF120F4}" type="presParOf" srcId="{322C5A5A-9E25-6047-BB00-4DF750E135CE}" destId="{64F502CF-3E90-0B4E-886C-91AB3F51938D}" srcOrd="2" destOrd="0" presId="urn:microsoft.com/office/officeart/2008/layout/HorizontalMultiLevelHierarchy"/>
    <dgm:cxn modelId="{85153F16-8BBE-E64E-BD3A-69F910E6A29B}" type="presParOf" srcId="{64F502CF-3E90-0B4E-886C-91AB3F51938D}" destId="{6FA82A28-C585-714B-9AF5-DA995FB3DF53}" srcOrd="0" destOrd="0" presId="urn:microsoft.com/office/officeart/2008/layout/HorizontalMultiLevelHierarchy"/>
    <dgm:cxn modelId="{7A3DC4C0-31B0-6149-A4E0-21714692C2C8}" type="presParOf" srcId="{322C5A5A-9E25-6047-BB00-4DF750E135CE}" destId="{EC8B6A62-9FAE-5045-A1A4-029DC2356DF7}" srcOrd="3" destOrd="0" presId="urn:microsoft.com/office/officeart/2008/layout/HorizontalMultiLevelHierarchy"/>
    <dgm:cxn modelId="{13F72CFD-B074-1F47-A095-280878BD686F}" type="presParOf" srcId="{EC8B6A62-9FAE-5045-A1A4-029DC2356DF7}" destId="{F9B786D6-8B73-AC47-BEA7-3780A17C3E39}" srcOrd="0" destOrd="0" presId="urn:microsoft.com/office/officeart/2008/layout/HorizontalMultiLevelHierarchy"/>
    <dgm:cxn modelId="{1AC1BE03-DE4C-0D41-91A0-51C6EE8950EA}" type="presParOf" srcId="{EC8B6A62-9FAE-5045-A1A4-029DC2356DF7}" destId="{6E27147E-0C63-E041-AB6B-5C0E60851726}" srcOrd="1" destOrd="0" presId="urn:microsoft.com/office/officeart/2008/layout/HorizontalMultiLevelHierarchy"/>
    <dgm:cxn modelId="{0EB4B1FC-63E5-6A41-B76B-8C26086D96B0}" type="presParOf" srcId="{598DBB90-9C26-4C4B-AC1C-FF1827BF8D97}" destId="{60914178-E972-6747-98A5-9B1042D21399}" srcOrd="14" destOrd="0" presId="urn:microsoft.com/office/officeart/2008/layout/HorizontalMultiLevelHierarchy"/>
    <dgm:cxn modelId="{3574E67E-AE4E-B641-8F2F-92C96044CCA7}" type="presParOf" srcId="{60914178-E972-6747-98A5-9B1042D21399}" destId="{03FF4E40-A0E8-E040-A52F-D68379DCC349}" srcOrd="0" destOrd="0" presId="urn:microsoft.com/office/officeart/2008/layout/HorizontalMultiLevelHierarchy"/>
    <dgm:cxn modelId="{AF34783F-98B0-2B4D-A39A-F972ABA9FCB3}" type="presParOf" srcId="{598DBB90-9C26-4C4B-AC1C-FF1827BF8D97}" destId="{82D22835-936A-1D4B-AF7A-2D86C6FB8621}" srcOrd="15" destOrd="0" presId="urn:microsoft.com/office/officeart/2008/layout/HorizontalMultiLevelHierarchy"/>
    <dgm:cxn modelId="{124693D2-F0A0-5545-A571-2A0D10EA985F}" type="presParOf" srcId="{82D22835-936A-1D4B-AF7A-2D86C6FB8621}" destId="{4D444EFA-484D-8B49-B53F-73AE5DAC83CB}" srcOrd="0" destOrd="0" presId="urn:microsoft.com/office/officeart/2008/layout/HorizontalMultiLevelHierarchy"/>
    <dgm:cxn modelId="{6BDA3143-F336-7A41-96AE-49C7E1ECFB55}" type="presParOf" srcId="{82D22835-936A-1D4B-AF7A-2D86C6FB8621}" destId="{780003EA-E55D-2544-948D-2BA68EB5F8A9}" srcOrd="1" destOrd="0" presId="urn:microsoft.com/office/officeart/2008/layout/HorizontalMultiLevelHierarchy"/>
    <dgm:cxn modelId="{BB438200-96F2-B74E-932E-21C1B12438CF}" type="presParOf" srcId="{598DBB90-9C26-4C4B-AC1C-FF1827BF8D97}" destId="{91975744-72FE-E947-98E3-ECF3B2E7C3DC}" srcOrd="16" destOrd="0" presId="urn:microsoft.com/office/officeart/2008/layout/HorizontalMultiLevelHierarchy"/>
    <dgm:cxn modelId="{696A65C4-52FC-0546-8EA7-05CDA244A226}" type="presParOf" srcId="{91975744-72FE-E947-98E3-ECF3B2E7C3DC}" destId="{7C4C248C-9225-884B-A9F0-E626AEAE24C9}" srcOrd="0" destOrd="0" presId="urn:microsoft.com/office/officeart/2008/layout/HorizontalMultiLevelHierarchy"/>
    <dgm:cxn modelId="{EDAD1350-E47D-D648-9E5A-1AF92BD74222}" type="presParOf" srcId="{598DBB90-9C26-4C4B-AC1C-FF1827BF8D97}" destId="{FD91877E-03C5-8D41-B768-0E4703294F6C}" srcOrd="17" destOrd="0" presId="urn:microsoft.com/office/officeart/2008/layout/HorizontalMultiLevelHierarchy"/>
    <dgm:cxn modelId="{C25F4B16-E75F-BA4F-B8C2-AB2C82E4DC08}" type="presParOf" srcId="{FD91877E-03C5-8D41-B768-0E4703294F6C}" destId="{73B69BAE-7567-8E4E-A9B2-D2862F6B978E}" srcOrd="0" destOrd="0" presId="urn:microsoft.com/office/officeart/2008/layout/HorizontalMultiLevelHierarchy"/>
    <dgm:cxn modelId="{D9F0624F-39CD-0342-8855-A9AEC951679F}" type="presParOf" srcId="{FD91877E-03C5-8D41-B768-0E4703294F6C}" destId="{27C85358-980A-884D-9DDA-63018758070E}" srcOrd="1" destOrd="0" presId="urn:microsoft.com/office/officeart/2008/layout/HorizontalMultiLevelHierarchy"/>
    <dgm:cxn modelId="{8848FB56-1A46-6D46-90D4-B73C31DC1F26}" type="presParOf" srcId="{27C85358-980A-884D-9DDA-63018758070E}" destId="{55365CED-83D4-194F-A914-2CFC37CD9B45}" srcOrd="0" destOrd="0" presId="urn:microsoft.com/office/officeart/2008/layout/HorizontalMultiLevelHierarchy"/>
    <dgm:cxn modelId="{5B58661A-A8A8-4940-BDCB-E50A1D758A8D}" type="presParOf" srcId="{55365CED-83D4-194F-A914-2CFC37CD9B45}" destId="{12E46C15-0F90-7843-8745-7EFB583D5A38}" srcOrd="0" destOrd="0" presId="urn:microsoft.com/office/officeart/2008/layout/HorizontalMultiLevelHierarchy"/>
    <dgm:cxn modelId="{C9182572-AA3D-4C48-8AC5-FE3A59F31C36}" type="presParOf" srcId="{27C85358-980A-884D-9DDA-63018758070E}" destId="{76889E03-95A4-234A-BE0C-87E6CEF02D37}" srcOrd="1" destOrd="0" presId="urn:microsoft.com/office/officeart/2008/layout/HorizontalMultiLevelHierarchy"/>
    <dgm:cxn modelId="{E824A858-C2B1-1247-98C3-B4FB6E35522D}" type="presParOf" srcId="{76889E03-95A4-234A-BE0C-87E6CEF02D37}" destId="{21C89BDE-E13D-974B-B17D-6B6CDBB2C8DB}" srcOrd="0" destOrd="0" presId="urn:microsoft.com/office/officeart/2008/layout/HorizontalMultiLevelHierarchy"/>
    <dgm:cxn modelId="{28B981F8-E044-D543-8BB6-073CCA307870}" type="presParOf" srcId="{76889E03-95A4-234A-BE0C-87E6CEF02D37}" destId="{FB25556A-79E0-D042-8EE4-421CC8CFEFD5}" srcOrd="1" destOrd="0" presId="urn:microsoft.com/office/officeart/2008/layout/HorizontalMultiLevelHierarchy"/>
    <dgm:cxn modelId="{E8869183-8844-A243-A393-EF76AC0C3348}" type="presParOf" srcId="{27C85358-980A-884D-9DDA-63018758070E}" destId="{2242491C-75CB-654B-ABCA-74AF8E25B4E8}" srcOrd="2" destOrd="0" presId="urn:microsoft.com/office/officeart/2008/layout/HorizontalMultiLevelHierarchy"/>
    <dgm:cxn modelId="{898F4F43-B511-FC44-85D9-4DC39A943B50}" type="presParOf" srcId="{2242491C-75CB-654B-ABCA-74AF8E25B4E8}" destId="{62990B64-CF79-7146-BF7B-48A759C6E310}" srcOrd="0" destOrd="0" presId="urn:microsoft.com/office/officeart/2008/layout/HorizontalMultiLevelHierarchy"/>
    <dgm:cxn modelId="{4697C3EA-AD62-A54E-A18C-3B9CB6E4D431}" type="presParOf" srcId="{27C85358-980A-884D-9DDA-63018758070E}" destId="{34BC8C0B-A669-9B42-82AD-78E158ADEE5B}" srcOrd="3" destOrd="0" presId="urn:microsoft.com/office/officeart/2008/layout/HorizontalMultiLevelHierarchy"/>
    <dgm:cxn modelId="{FE0A916E-9218-DD48-91BC-598428C3664F}" type="presParOf" srcId="{34BC8C0B-A669-9B42-82AD-78E158ADEE5B}" destId="{84732D04-01E1-2742-A082-1195BCDCDEC2}" srcOrd="0" destOrd="0" presId="urn:microsoft.com/office/officeart/2008/layout/HorizontalMultiLevelHierarchy"/>
    <dgm:cxn modelId="{5545B4D2-BE31-8049-9D1A-350BA982B487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49A54662-4F38-EA4B-B4A8-478581F9B7B0}" type="presOf" srcId="{E543121D-95F7-3E47-B964-B7B948211EBC}" destId="{2C1F9B08-4495-8146-8974-2654E99B2E9A}" srcOrd="0" destOrd="0" presId="urn:microsoft.com/office/officeart/2008/layout/HorizontalMultiLevelHierarchy"/>
    <dgm:cxn modelId="{C64C2755-D649-B640-AC50-4BA17FFCD1DD}" type="presOf" srcId="{5E2A7D5A-EFB6-9C4F-A960-3D6903C39497}" destId="{1442578F-E924-E34F-9FA5-3F4C2CF65BC9}" srcOrd="0" destOrd="0" presId="urn:microsoft.com/office/officeart/2008/layout/HorizontalMultiLevelHierarchy"/>
    <dgm:cxn modelId="{6EA5FD92-F108-9C44-99AB-3C46A5117EC4}" type="presOf" srcId="{63D1AE09-4F57-A443-A1FD-2A3034962097}" destId="{B7A5E06F-5B4B-C947-BFA6-C1FA5998CE54}" srcOrd="0" destOrd="0" presId="urn:microsoft.com/office/officeart/2008/layout/HorizontalMultiLevelHierarchy"/>
    <dgm:cxn modelId="{49C256B2-FF94-134B-AD56-05012A174159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CEBD732-F711-7046-9A67-AFA5E9D25593}" type="presOf" srcId="{134C8002-4160-B046-917F-B9172D6D011E}" destId="{569810E7-365A-FB48-A979-23DA3465EF4F}" srcOrd="1" destOrd="0" presId="urn:microsoft.com/office/officeart/2008/layout/HorizontalMultiLevelHierarchy"/>
    <dgm:cxn modelId="{7292121C-1193-1F4E-8F47-5DC57BBB13FE}" type="presOf" srcId="{63D1AE09-4F57-A443-A1FD-2A3034962097}" destId="{04D949B2-6FA5-4948-B335-DDA85E4E65B1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9FEE91A3-7736-BA47-B033-BCDDE7D0B3E5}" type="presOf" srcId="{08733529-A5F0-F14D-8E75-74214329B040}" destId="{A635BF91-C219-EB46-A0CA-F8A2CE3D7BF3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A60E9C6E-4643-7C4B-BFCA-9715502CB841}" type="presOf" srcId="{6577C284-4D20-2C4A-88D4-29EB6FEAC9C2}" destId="{348A166D-A55E-9147-99A1-FB87A4CF61A8}" srcOrd="1" destOrd="0" presId="urn:microsoft.com/office/officeart/2008/layout/HorizontalMultiLevelHierarchy"/>
    <dgm:cxn modelId="{EDAE6AF9-9B53-F248-8C24-B335402D595B}" type="presOf" srcId="{6577C284-4D20-2C4A-88D4-29EB6FEAC9C2}" destId="{A3F719CD-4C36-CF49-B90F-B8B40A2B29DE}" srcOrd="0" destOrd="0" presId="urn:microsoft.com/office/officeart/2008/layout/HorizontalMultiLevelHierarchy"/>
    <dgm:cxn modelId="{5756E74E-5400-6842-A4D6-5C5851397F6A}" type="presOf" srcId="{134C8002-4160-B046-917F-B9172D6D011E}" destId="{33DDFCA5-CC66-CC45-A430-EDF4DA53BA93}" srcOrd="0" destOrd="0" presId="urn:microsoft.com/office/officeart/2008/layout/HorizontalMultiLevelHierarchy"/>
    <dgm:cxn modelId="{189F05CD-253E-DA44-B91A-B6B3540A86EF}" type="presOf" srcId="{E543121D-95F7-3E47-B964-B7B948211EBC}" destId="{C9D429FE-9539-9D4A-9750-F9C781598EC4}" srcOrd="1" destOrd="0" presId="urn:microsoft.com/office/officeart/2008/layout/HorizontalMultiLevelHierarchy"/>
    <dgm:cxn modelId="{3D58D3F3-3E00-D443-B020-B8873C365A3D}" type="presOf" srcId="{B64CCDD1-81AB-5245-B99A-E87DB05674D4}" destId="{3C43B809-8F2F-3641-8339-1043D47661D7}" srcOrd="0" destOrd="0" presId="urn:microsoft.com/office/officeart/2008/layout/HorizontalMultiLevelHierarchy"/>
    <dgm:cxn modelId="{A0AA2E59-635B-1C45-BD12-5065DE5004D6}" type="presOf" srcId="{B8771036-12B2-D843-AA17-BB631BA3F87D}" destId="{F9B786D6-8B73-AC47-BEA7-3780A17C3E39}" srcOrd="0" destOrd="0" presId="urn:microsoft.com/office/officeart/2008/layout/HorizontalMultiLevelHierarchy"/>
    <dgm:cxn modelId="{8AC17970-CF44-0B4E-A241-F6358DD8EF81}" type="presOf" srcId="{9EB1846C-ABB5-9E44-B030-7BE73C498E59}" destId="{60914178-E972-6747-98A5-9B1042D21399}" srcOrd="0" destOrd="0" presId="urn:microsoft.com/office/officeart/2008/layout/HorizontalMultiLevelHierarchy"/>
    <dgm:cxn modelId="{C9C6B5CD-FB2B-AF41-937E-CD8EA8509EB9}" type="presOf" srcId="{9EB1846C-ABB5-9E44-B030-7BE73C498E59}" destId="{03FF4E40-A0E8-E040-A52F-D68379DCC349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97323C99-A7C0-BB4F-98DC-1F9E03F9C641}" type="presOf" srcId="{859769CA-042B-6244-840F-75AE1403619A}" destId="{4E546A01-1907-BB4F-B534-4E81DE6081F4}" srcOrd="0" destOrd="0" presId="urn:microsoft.com/office/officeart/2008/layout/HorizontalMultiLevelHierarchy"/>
    <dgm:cxn modelId="{791DF4A2-A8F8-7044-9B9F-9BDA33423D86}" type="presOf" srcId="{BBD19103-9913-2A49-AB85-F021773D5328}" destId="{64F502CF-3E90-0B4E-886C-91AB3F51938D}" srcOrd="0" destOrd="0" presId="urn:microsoft.com/office/officeart/2008/layout/HorizontalMultiLevelHierarchy"/>
    <dgm:cxn modelId="{4F36391C-2043-E94C-ACDF-80CEF591A2B3}" type="presOf" srcId="{7E0C02E8-17C2-874D-B6DE-8E3A1D3437C9}" destId="{448042B3-2CED-424C-815C-8FD3B3AD8A3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19BC3401-CC0D-FF46-B68C-C82F4CF743F9}" type="presOf" srcId="{0726F871-37F4-AB40-AF73-6656D7E9C85D}" destId="{613226CB-11A4-C549-82A6-64B9BCFE1002}" srcOrd="0" destOrd="0" presId="urn:microsoft.com/office/officeart/2008/layout/HorizontalMultiLevelHierarchy"/>
    <dgm:cxn modelId="{E64462ED-50BC-C642-871A-9EE644B2F142}" type="presOf" srcId="{BA9C693C-1CF5-6E4E-A8C4-1E304AFD6DF5}" destId="{99E936FD-8649-9640-96D2-9202E1CEC417}" srcOrd="0" destOrd="0" presId="urn:microsoft.com/office/officeart/2008/layout/HorizontalMultiLevelHierarchy"/>
    <dgm:cxn modelId="{C892B975-1171-E84E-A086-5013C952336B}" type="presOf" srcId="{C24B2AD7-9651-4B45-A8F4-0314EA8D4874}" destId="{8AD8F429-D3CB-F748-A62E-81D3E0DD1FE1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50B1BCBC-DB04-8344-B114-08BBD6E1E185}" type="presOf" srcId="{26144DC7-9794-3E4B-BF8F-331E25884D5F}" destId="{921A596F-4B37-494E-B07C-17FD734C6406}" srcOrd="0" destOrd="0" presId="urn:microsoft.com/office/officeart/2008/layout/HorizontalMultiLevelHierarchy"/>
    <dgm:cxn modelId="{A4A6E054-E8CE-7442-8236-D4098D9971FC}" type="presOf" srcId="{436C1B23-A07F-9344-ADAB-98173723FB7F}" destId="{B541F6A1-B2AA-7447-8E11-AC7AA5D5D50B}" srcOrd="0" destOrd="0" presId="urn:microsoft.com/office/officeart/2008/layout/HorizontalMultiLevelHierarchy"/>
    <dgm:cxn modelId="{29720F63-4AF1-414A-8758-66526AD626E1}" type="presOf" srcId="{8BC59F7D-94BF-3B43-BF5D-5485F4809DAD}" destId="{756F0DD8-11FC-8647-8FC8-7AAB634C5717}" srcOrd="1" destOrd="0" presId="urn:microsoft.com/office/officeart/2008/layout/HorizontalMultiLevelHierarchy"/>
    <dgm:cxn modelId="{166CF943-5FA2-DC49-8893-86EB26E651B0}" type="presOf" srcId="{08733529-A5F0-F14D-8E75-74214329B040}" destId="{393A7F55-569D-7A48-ACE0-063418018375}" srcOrd="0" destOrd="0" presId="urn:microsoft.com/office/officeart/2008/layout/HorizontalMultiLevelHierarchy"/>
    <dgm:cxn modelId="{6785DFF0-CDBB-3447-BBB3-05C85233D929}" type="presOf" srcId="{78A64519-4827-364C-A275-D5C68A949ADD}" destId="{33CE7315-72E8-4545-9EC6-56F4D0BEC64D}" srcOrd="0" destOrd="0" presId="urn:microsoft.com/office/officeart/2008/layout/HorizontalMultiLevelHierarchy"/>
    <dgm:cxn modelId="{9E35B53A-89AB-1A4F-BE6B-1E8A018793BB}" type="presOf" srcId="{990267CF-EA89-A240-9514-9AFC12BBADEE}" destId="{03DEAF18-EC72-C047-A9B4-C65BE189F02C}" srcOrd="0" destOrd="0" presId="urn:microsoft.com/office/officeart/2008/layout/HorizontalMultiLevelHierarchy"/>
    <dgm:cxn modelId="{9BACD151-D525-9A4E-B660-DDEE29324E52}" type="presOf" srcId="{8BC59F7D-94BF-3B43-BF5D-5485F4809DAD}" destId="{6D977B4C-E88D-6044-A647-A6CC29747BE1}" srcOrd="0" destOrd="0" presId="urn:microsoft.com/office/officeart/2008/layout/HorizontalMultiLevelHierarchy"/>
    <dgm:cxn modelId="{1D8CA156-FC5F-4F44-A789-42DB07E3F301}" type="presOf" srcId="{436C1B23-A07F-9344-ADAB-98173723FB7F}" destId="{0637CC4E-4D30-724B-9FFD-C7AED88FB068}" srcOrd="1" destOrd="0" presId="urn:microsoft.com/office/officeart/2008/layout/HorizontalMultiLevelHierarchy"/>
    <dgm:cxn modelId="{C2BC2BE9-9F9E-014A-B32F-8191EE8C8E8D}" type="presOf" srcId="{488E1B12-EE7C-9246-8169-00D4E05307C4}" destId="{5E781A07-1968-A143-88EC-827822313B55}" srcOrd="0" destOrd="0" presId="urn:microsoft.com/office/officeart/2008/layout/HorizontalMultiLevelHierarchy"/>
    <dgm:cxn modelId="{3D4BC29D-1B95-7E4D-ABB8-B0DF921B49E3}" type="presOf" srcId="{C24B2AD7-9651-4B45-A8F4-0314EA8D4874}" destId="{27DD3461-0240-774A-8774-CC1A00541B61}" srcOrd="1" destOrd="0" presId="urn:microsoft.com/office/officeart/2008/layout/HorizontalMultiLevelHierarchy"/>
    <dgm:cxn modelId="{46CE6EB7-8192-124B-9A11-08E1F05CEEC6}" type="presOf" srcId="{C0976C3D-B466-7D45-ABFB-2E3685B2F19C}" destId="{D35EA19E-870C-2F44-A620-E6B51FB20589}" srcOrd="0" destOrd="0" presId="urn:microsoft.com/office/officeart/2008/layout/HorizontalMultiLevelHierarchy"/>
    <dgm:cxn modelId="{C8CA70AA-938D-2F46-B3E5-28E3D80AB834}" type="presOf" srcId="{5ADEDBF8-717E-F946-B11E-4CC50D9988C8}" destId="{D778007E-9974-2C41-910F-E1E5562B090A}" srcOrd="0" destOrd="0" presId="urn:microsoft.com/office/officeart/2008/layout/HorizontalMultiLevelHierarchy"/>
    <dgm:cxn modelId="{F3758E5A-C668-4846-88FC-3D06E66590F7}" type="presOf" srcId="{5E2A7D5A-EFB6-9C4F-A960-3D6903C39497}" destId="{E59B7B1E-3287-FB43-A405-2A84667315EC}" srcOrd="1" destOrd="0" presId="urn:microsoft.com/office/officeart/2008/layout/HorizontalMultiLevelHierarchy"/>
    <dgm:cxn modelId="{D6D26B9D-8DC2-A146-B862-3C665D041F02}" type="presOf" srcId="{5ADEDBF8-717E-F946-B11E-4CC50D9988C8}" destId="{AB33012A-8C54-6245-96E8-E0111C081E33}" srcOrd="1" destOrd="0" presId="urn:microsoft.com/office/officeart/2008/layout/HorizontalMultiLevelHierarchy"/>
    <dgm:cxn modelId="{D7291F72-9FC9-ED4D-8DFE-7653DF31BD3A}" type="presOf" srcId="{174F7A28-653D-6F45-9860-935E35504EE1}" destId="{4D444EFA-484D-8B49-B53F-73AE5DAC83CB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8BF47E6E-87AF-C74E-9350-4511FF1E6FBB}" type="presOf" srcId="{EF2BFDE9-4D1F-3049-B62C-65BE59459C50}" destId="{5167760A-1265-4C43-B02A-4A72B3B39F5E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EA5692F-197B-F246-8013-E7E6DD425899}" type="presOf" srcId="{BBD19103-9913-2A49-AB85-F021773D5328}" destId="{6FA82A28-C585-714B-9AF5-DA995FB3DF53}" srcOrd="1" destOrd="0" presId="urn:microsoft.com/office/officeart/2008/layout/HorizontalMultiLevelHierarchy"/>
    <dgm:cxn modelId="{F9D7B745-13EE-3F4F-B338-0448AAD560A4}" type="presParOf" srcId="{613226CB-11A4-C549-82A6-64B9BCFE1002}" destId="{3BA40406-1E55-1642-A22A-B49F5A173AC8}" srcOrd="0" destOrd="0" presId="urn:microsoft.com/office/officeart/2008/layout/HorizontalMultiLevelHierarchy"/>
    <dgm:cxn modelId="{C5F060FC-6E50-6C43-B33F-54939D7A533C}" type="presParOf" srcId="{3BA40406-1E55-1642-A22A-B49F5A173AC8}" destId="{99E936FD-8649-9640-96D2-9202E1CEC417}" srcOrd="0" destOrd="0" presId="urn:microsoft.com/office/officeart/2008/layout/HorizontalMultiLevelHierarchy"/>
    <dgm:cxn modelId="{D5008C0B-F324-8E46-90D7-B64EA985DD78}" type="presParOf" srcId="{3BA40406-1E55-1642-A22A-B49F5A173AC8}" destId="{598DBB90-9C26-4C4B-AC1C-FF1827BF8D97}" srcOrd="1" destOrd="0" presId="urn:microsoft.com/office/officeart/2008/layout/HorizontalMultiLevelHierarchy"/>
    <dgm:cxn modelId="{77943CAA-AD69-3C47-A298-F4A84EE5D618}" type="presParOf" srcId="{598DBB90-9C26-4C4B-AC1C-FF1827BF8D97}" destId="{D778007E-9974-2C41-910F-E1E5562B090A}" srcOrd="0" destOrd="0" presId="urn:microsoft.com/office/officeart/2008/layout/HorizontalMultiLevelHierarchy"/>
    <dgm:cxn modelId="{08256B71-4ABF-4948-BA90-8C617EC6F2B4}" type="presParOf" srcId="{D778007E-9974-2C41-910F-E1E5562B090A}" destId="{AB33012A-8C54-6245-96E8-E0111C081E33}" srcOrd="0" destOrd="0" presId="urn:microsoft.com/office/officeart/2008/layout/HorizontalMultiLevelHierarchy"/>
    <dgm:cxn modelId="{F86EF3D6-B712-1042-B484-16A3B620B5B7}" type="presParOf" srcId="{598DBB90-9C26-4C4B-AC1C-FF1827BF8D97}" destId="{BCA6FE17-8DB6-0242-A6E4-C7D3971EBD97}" srcOrd="1" destOrd="0" presId="urn:microsoft.com/office/officeart/2008/layout/HorizontalMultiLevelHierarchy"/>
    <dgm:cxn modelId="{EF54BA4D-CA1A-1C4E-94E3-10E56DB7E9BD}" type="presParOf" srcId="{BCA6FE17-8DB6-0242-A6E4-C7D3971EBD97}" destId="{5E781A07-1968-A143-88EC-827822313B55}" srcOrd="0" destOrd="0" presId="urn:microsoft.com/office/officeart/2008/layout/HorizontalMultiLevelHierarchy"/>
    <dgm:cxn modelId="{35A69CB3-8EBD-EC4D-AC8E-F73CC9D34DA3}" type="presParOf" srcId="{BCA6FE17-8DB6-0242-A6E4-C7D3971EBD97}" destId="{BDDED42C-20CE-EF4E-85AA-7830E9428B23}" srcOrd="1" destOrd="0" presId="urn:microsoft.com/office/officeart/2008/layout/HorizontalMultiLevelHierarchy"/>
    <dgm:cxn modelId="{E0E1E520-6242-C440-B30B-AB87AAEA2EC3}" type="presParOf" srcId="{598DBB90-9C26-4C4B-AC1C-FF1827BF8D97}" destId="{B7A5E06F-5B4B-C947-BFA6-C1FA5998CE54}" srcOrd="2" destOrd="0" presId="urn:microsoft.com/office/officeart/2008/layout/HorizontalMultiLevelHierarchy"/>
    <dgm:cxn modelId="{28FC36F0-C00E-BA4F-A1B7-47846E185409}" type="presParOf" srcId="{B7A5E06F-5B4B-C947-BFA6-C1FA5998CE54}" destId="{04D949B2-6FA5-4948-B335-DDA85E4E65B1}" srcOrd="0" destOrd="0" presId="urn:microsoft.com/office/officeart/2008/layout/HorizontalMultiLevelHierarchy"/>
    <dgm:cxn modelId="{17DE128E-36D5-504F-BB67-047E3B7E495D}" type="presParOf" srcId="{598DBB90-9C26-4C4B-AC1C-FF1827BF8D97}" destId="{5B0B9041-BDB4-7141-9957-0BEAFB33AEFE}" srcOrd="3" destOrd="0" presId="urn:microsoft.com/office/officeart/2008/layout/HorizontalMultiLevelHierarchy"/>
    <dgm:cxn modelId="{FB9C65B3-2A82-8E47-8C50-62116CD7D649}" type="presParOf" srcId="{5B0B9041-BDB4-7141-9957-0BEAFB33AEFE}" destId="{D35EA19E-870C-2F44-A620-E6B51FB20589}" srcOrd="0" destOrd="0" presId="urn:microsoft.com/office/officeart/2008/layout/HorizontalMultiLevelHierarchy"/>
    <dgm:cxn modelId="{D8088EEA-B05A-C941-BAAC-88DB2A4E3B77}" type="presParOf" srcId="{5B0B9041-BDB4-7141-9957-0BEAFB33AEFE}" destId="{62348515-9687-1045-ADA1-3184EC8CEC61}" srcOrd="1" destOrd="0" presId="urn:microsoft.com/office/officeart/2008/layout/HorizontalMultiLevelHierarchy"/>
    <dgm:cxn modelId="{DB921496-B34D-CB45-94BF-1655CD212F5C}" type="presParOf" srcId="{62348515-9687-1045-ADA1-3184EC8CEC61}" destId="{B541F6A1-B2AA-7447-8E11-AC7AA5D5D50B}" srcOrd="0" destOrd="0" presId="urn:microsoft.com/office/officeart/2008/layout/HorizontalMultiLevelHierarchy"/>
    <dgm:cxn modelId="{B62E8116-96FE-D844-B4C8-EBFA6B526B96}" type="presParOf" srcId="{B541F6A1-B2AA-7447-8E11-AC7AA5D5D50B}" destId="{0637CC4E-4D30-724B-9FFD-C7AED88FB068}" srcOrd="0" destOrd="0" presId="urn:microsoft.com/office/officeart/2008/layout/HorizontalMultiLevelHierarchy"/>
    <dgm:cxn modelId="{6C0F8305-CFD8-144F-93FD-1DEF37E3CC57}" type="presParOf" srcId="{62348515-9687-1045-ADA1-3184EC8CEC61}" destId="{CA3C244E-E149-0742-ACEF-44B7ECE83631}" srcOrd="1" destOrd="0" presId="urn:microsoft.com/office/officeart/2008/layout/HorizontalMultiLevelHierarchy"/>
    <dgm:cxn modelId="{5E3FAC08-9C69-EC42-8005-5CFD73ED8459}" type="presParOf" srcId="{CA3C244E-E149-0742-ACEF-44B7ECE83631}" destId="{9FB8B136-71A7-D34F-B7EB-BD8FC5C96ECE}" srcOrd="0" destOrd="0" presId="urn:microsoft.com/office/officeart/2008/layout/HorizontalMultiLevelHierarchy"/>
    <dgm:cxn modelId="{EC3329D1-9510-464C-A051-8E92638CF390}" type="presParOf" srcId="{CA3C244E-E149-0742-ACEF-44B7ECE83631}" destId="{9B46DB51-FCC5-AC41-BECD-E28037B564D0}" srcOrd="1" destOrd="0" presId="urn:microsoft.com/office/officeart/2008/layout/HorizontalMultiLevelHierarchy"/>
    <dgm:cxn modelId="{2BAFED02-EF0F-6145-B92F-AA4851DC8648}" type="presParOf" srcId="{62348515-9687-1045-ADA1-3184EC8CEC61}" destId="{2C1F9B08-4495-8146-8974-2654E99B2E9A}" srcOrd="2" destOrd="0" presId="urn:microsoft.com/office/officeart/2008/layout/HorizontalMultiLevelHierarchy"/>
    <dgm:cxn modelId="{12A73C44-C749-6C44-A4E9-6A129D9FC235}" type="presParOf" srcId="{2C1F9B08-4495-8146-8974-2654E99B2E9A}" destId="{C9D429FE-9539-9D4A-9750-F9C781598EC4}" srcOrd="0" destOrd="0" presId="urn:microsoft.com/office/officeart/2008/layout/HorizontalMultiLevelHierarchy"/>
    <dgm:cxn modelId="{B6CD863A-02ED-7844-B07B-4EC0A1B75179}" type="presParOf" srcId="{62348515-9687-1045-ADA1-3184EC8CEC61}" destId="{7F107BC0-209A-4C42-BEA6-B6817D5C9E09}" srcOrd="3" destOrd="0" presId="urn:microsoft.com/office/officeart/2008/layout/HorizontalMultiLevelHierarchy"/>
    <dgm:cxn modelId="{EEE45BED-FC6B-CC4A-AF8E-5447F3453F6B}" type="presParOf" srcId="{7F107BC0-209A-4C42-BEA6-B6817D5C9E09}" destId="{4E546A01-1907-BB4F-B534-4E81DE6081F4}" srcOrd="0" destOrd="0" presId="urn:microsoft.com/office/officeart/2008/layout/HorizontalMultiLevelHierarchy"/>
    <dgm:cxn modelId="{D2D52EE5-57CA-204D-9252-85A436AA159C}" type="presParOf" srcId="{7F107BC0-209A-4C42-BEA6-B6817D5C9E09}" destId="{F5393339-32D0-CE4B-9AAA-4B6A114FA39A}" srcOrd="1" destOrd="0" presId="urn:microsoft.com/office/officeart/2008/layout/HorizontalMultiLevelHierarchy"/>
    <dgm:cxn modelId="{8B6C1D73-AB28-F441-B854-1B9EA92E631A}" type="presParOf" srcId="{62348515-9687-1045-ADA1-3184EC8CEC61}" destId="{6D977B4C-E88D-6044-A647-A6CC29747BE1}" srcOrd="4" destOrd="0" presId="urn:microsoft.com/office/officeart/2008/layout/HorizontalMultiLevelHierarchy"/>
    <dgm:cxn modelId="{448A3C38-E794-2444-A36F-77E8C399F86E}" type="presParOf" srcId="{6D977B4C-E88D-6044-A647-A6CC29747BE1}" destId="{756F0DD8-11FC-8647-8FC8-7AAB634C5717}" srcOrd="0" destOrd="0" presId="urn:microsoft.com/office/officeart/2008/layout/HorizontalMultiLevelHierarchy"/>
    <dgm:cxn modelId="{8B445772-0E00-FC4A-A3AC-7A89FC8BE22A}" type="presParOf" srcId="{62348515-9687-1045-ADA1-3184EC8CEC61}" destId="{BAA197B9-40F5-1D46-A384-973DDEA5160C}" srcOrd="5" destOrd="0" presId="urn:microsoft.com/office/officeart/2008/layout/HorizontalMultiLevelHierarchy"/>
    <dgm:cxn modelId="{F91FAE62-030D-9942-A553-551F6B0FB2D7}" type="presParOf" srcId="{BAA197B9-40F5-1D46-A384-973DDEA5160C}" destId="{3C43B809-8F2F-3641-8339-1043D47661D7}" srcOrd="0" destOrd="0" presId="urn:microsoft.com/office/officeart/2008/layout/HorizontalMultiLevelHierarchy"/>
    <dgm:cxn modelId="{B6E4428F-0C37-E844-A0A6-6C1348C9880B}" type="presParOf" srcId="{BAA197B9-40F5-1D46-A384-973DDEA5160C}" destId="{F59926D0-D2AF-8940-B86B-A1820706A34B}" srcOrd="1" destOrd="0" presId="urn:microsoft.com/office/officeart/2008/layout/HorizontalMultiLevelHierarchy"/>
    <dgm:cxn modelId="{32D39D29-FA48-7A41-9660-A5EC72196F10}" type="presParOf" srcId="{598DBB90-9C26-4C4B-AC1C-FF1827BF8D97}" destId="{1442578F-E924-E34F-9FA5-3F4C2CF65BC9}" srcOrd="4" destOrd="0" presId="urn:microsoft.com/office/officeart/2008/layout/HorizontalMultiLevelHierarchy"/>
    <dgm:cxn modelId="{5F9505A0-3EF4-4947-A4F5-DB51AEA52B56}" type="presParOf" srcId="{1442578F-E924-E34F-9FA5-3F4C2CF65BC9}" destId="{E59B7B1E-3287-FB43-A405-2A84667315EC}" srcOrd="0" destOrd="0" presId="urn:microsoft.com/office/officeart/2008/layout/HorizontalMultiLevelHierarchy"/>
    <dgm:cxn modelId="{41A832E1-B32E-BF45-B5AE-70ED127FB206}" type="presParOf" srcId="{598DBB90-9C26-4C4B-AC1C-FF1827BF8D97}" destId="{6188AF91-8F5E-7F4E-A0A2-13FA32167F53}" srcOrd="5" destOrd="0" presId="urn:microsoft.com/office/officeart/2008/layout/HorizontalMultiLevelHierarchy"/>
    <dgm:cxn modelId="{DF051FB7-2B57-FF4E-8EBE-5C68E192278F}" type="presParOf" srcId="{6188AF91-8F5E-7F4E-A0A2-13FA32167F53}" destId="{5167760A-1265-4C43-B02A-4A72B3B39F5E}" srcOrd="0" destOrd="0" presId="urn:microsoft.com/office/officeart/2008/layout/HorizontalMultiLevelHierarchy"/>
    <dgm:cxn modelId="{7C414ADB-125B-9A41-BDFD-08DF510DF4AB}" type="presParOf" srcId="{6188AF91-8F5E-7F4E-A0A2-13FA32167F53}" destId="{21F2C295-F343-AC4A-8BE2-CFD4DAC170AE}" srcOrd="1" destOrd="0" presId="urn:microsoft.com/office/officeart/2008/layout/HorizontalMultiLevelHierarchy"/>
    <dgm:cxn modelId="{7F7DA031-A815-7540-B0AF-B602B1A47A09}" type="presParOf" srcId="{598DBB90-9C26-4C4B-AC1C-FF1827BF8D97}" destId="{A3F719CD-4C36-CF49-B90F-B8B40A2B29DE}" srcOrd="6" destOrd="0" presId="urn:microsoft.com/office/officeart/2008/layout/HorizontalMultiLevelHierarchy"/>
    <dgm:cxn modelId="{220516E4-6D14-9D4A-B5BE-BE2BD32ACB86}" type="presParOf" srcId="{A3F719CD-4C36-CF49-B90F-B8B40A2B29DE}" destId="{348A166D-A55E-9147-99A1-FB87A4CF61A8}" srcOrd="0" destOrd="0" presId="urn:microsoft.com/office/officeart/2008/layout/HorizontalMultiLevelHierarchy"/>
    <dgm:cxn modelId="{276DC29E-9244-8942-9B9F-32207F2CACFE}" type="presParOf" srcId="{598DBB90-9C26-4C4B-AC1C-FF1827BF8D97}" destId="{175E4F2C-D898-EE44-A4E7-79846E237DB4}" srcOrd="7" destOrd="0" presId="urn:microsoft.com/office/officeart/2008/layout/HorizontalMultiLevelHierarchy"/>
    <dgm:cxn modelId="{B97E1377-4918-4749-A059-AAE43423FCED}" type="presParOf" srcId="{175E4F2C-D898-EE44-A4E7-79846E237DB4}" destId="{921A596F-4B37-494E-B07C-17FD734C6406}" srcOrd="0" destOrd="0" presId="urn:microsoft.com/office/officeart/2008/layout/HorizontalMultiLevelHierarchy"/>
    <dgm:cxn modelId="{28F29BE1-3CC7-EE41-856A-60C3097C89E0}" type="presParOf" srcId="{175E4F2C-D898-EE44-A4E7-79846E237DB4}" destId="{A9D518F9-DAB2-4E45-9ECB-39AA13A01564}" srcOrd="1" destOrd="0" presId="urn:microsoft.com/office/officeart/2008/layout/HorizontalMultiLevelHierarchy"/>
    <dgm:cxn modelId="{A03A72B7-54C9-DE44-8607-83B57D51AF87}" type="presParOf" srcId="{A9D518F9-DAB2-4E45-9ECB-39AA13A01564}" destId="{8AD8F429-D3CB-F748-A62E-81D3E0DD1FE1}" srcOrd="0" destOrd="0" presId="urn:microsoft.com/office/officeart/2008/layout/HorizontalMultiLevelHierarchy"/>
    <dgm:cxn modelId="{DBE89F2E-6FD5-1646-8EF2-B286D39DDFE1}" type="presParOf" srcId="{8AD8F429-D3CB-F748-A62E-81D3E0DD1FE1}" destId="{27DD3461-0240-774A-8774-CC1A00541B61}" srcOrd="0" destOrd="0" presId="urn:microsoft.com/office/officeart/2008/layout/HorizontalMultiLevelHierarchy"/>
    <dgm:cxn modelId="{62E93CE8-DF1D-BD4A-9637-0576D6BA306F}" type="presParOf" srcId="{A9D518F9-DAB2-4E45-9ECB-39AA13A01564}" destId="{11FBA7F4-3D95-3448-9648-3CEA03AB03A5}" srcOrd="1" destOrd="0" presId="urn:microsoft.com/office/officeart/2008/layout/HorizontalMultiLevelHierarchy"/>
    <dgm:cxn modelId="{33B6673A-6338-994F-9BF8-4225DD6898E7}" type="presParOf" srcId="{11FBA7F4-3D95-3448-9648-3CEA03AB03A5}" destId="{33CE7315-72E8-4545-9EC6-56F4D0BEC64D}" srcOrd="0" destOrd="0" presId="urn:microsoft.com/office/officeart/2008/layout/HorizontalMultiLevelHierarchy"/>
    <dgm:cxn modelId="{BA1021F4-633C-314E-9EA1-50F4FED61445}" type="presParOf" srcId="{11FBA7F4-3D95-3448-9648-3CEA03AB03A5}" destId="{F94ACA84-3A4A-0541-929E-9401CD7FB410}" srcOrd="1" destOrd="0" presId="urn:microsoft.com/office/officeart/2008/layout/HorizontalMultiLevelHierarchy"/>
    <dgm:cxn modelId="{3369A528-E227-4448-9032-97E9B4D1D27E}" type="presParOf" srcId="{598DBB90-9C26-4C4B-AC1C-FF1827BF8D97}" destId="{33DDFCA5-CC66-CC45-A430-EDF4DA53BA93}" srcOrd="8" destOrd="0" presId="urn:microsoft.com/office/officeart/2008/layout/HorizontalMultiLevelHierarchy"/>
    <dgm:cxn modelId="{F68D25E0-2729-554C-BD50-AAFEAFB25D5D}" type="presParOf" srcId="{33DDFCA5-CC66-CC45-A430-EDF4DA53BA93}" destId="{569810E7-365A-FB48-A979-23DA3465EF4F}" srcOrd="0" destOrd="0" presId="urn:microsoft.com/office/officeart/2008/layout/HorizontalMultiLevelHierarchy"/>
    <dgm:cxn modelId="{A38095EF-56C2-324F-8964-36316347D994}" type="presParOf" srcId="{598DBB90-9C26-4C4B-AC1C-FF1827BF8D97}" destId="{299D8B01-3ECB-7743-BE59-35C50BD6249A}" srcOrd="9" destOrd="0" presId="urn:microsoft.com/office/officeart/2008/layout/HorizontalMultiLevelHierarchy"/>
    <dgm:cxn modelId="{68346701-B151-2445-B6B8-3400F1487879}" type="presParOf" srcId="{299D8B01-3ECB-7743-BE59-35C50BD6249A}" destId="{03DEAF18-EC72-C047-A9B4-C65BE189F02C}" srcOrd="0" destOrd="0" presId="urn:microsoft.com/office/officeart/2008/layout/HorizontalMultiLevelHierarchy"/>
    <dgm:cxn modelId="{B68C73F6-B90F-B94D-A046-85182C7DDA07}" type="presParOf" srcId="{299D8B01-3ECB-7743-BE59-35C50BD6249A}" destId="{322C5A5A-9E25-6047-BB00-4DF750E135CE}" srcOrd="1" destOrd="0" presId="urn:microsoft.com/office/officeart/2008/layout/HorizontalMultiLevelHierarchy"/>
    <dgm:cxn modelId="{7C85D0C5-0501-5846-B63F-935BC21A8745}" type="presParOf" srcId="{322C5A5A-9E25-6047-BB00-4DF750E135CE}" destId="{393A7F55-569D-7A48-ACE0-063418018375}" srcOrd="0" destOrd="0" presId="urn:microsoft.com/office/officeart/2008/layout/HorizontalMultiLevelHierarchy"/>
    <dgm:cxn modelId="{FE739320-CE89-3A45-8354-B88E99EC4C73}" type="presParOf" srcId="{393A7F55-569D-7A48-ACE0-063418018375}" destId="{A635BF91-C219-EB46-A0CA-F8A2CE3D7BF3}" srcOrd="0" destOrd="0" presId="urn:microsoft.com/office/officeart/2008/layout/HorizontalMultiLevelHierarchy"/>
    <dgm:cxn modelId="{338D924C-4033-2544-9368-E8969B5B7096}" type="presParOf" srcId="{322C5A5A-9E25-6047-BB00-4DF750E135CE}" destId="{55918953-A6CF-814A-89F9-551623EBC010}" srcOrd="1" destOrd="0" presId="urn:microsoft.com/office/officeart/2008/layout/HorizontalMultiLevelHierarchy"/>
    <dgm:cxn modelId="{30EEECD9-5D3B-8446-8F69-517863E72A0B}" type="presParOf" srcId="{55918953-A6CF-814A-89F9-551623EBC010}" destId="{448042B3-2CED-424C-815C-8FD3B3AD8A39}" srcOrd="0" destOrd="0" presId="urn:microsoft.com/office/officeart/2008/layout/HorizontalMultiLevelHierarchy"/>
    <dgm:cxn modelId="{457B46FD-2D04-464C-8A2A-7A9D7EECCC42}" type="presParOf" srcId="{55918953-A6CF-814A-89F9-551623EBC010}" destId="{4C59A0B4-1525-104C-AAB2-E79163983336}" srcOrd="1" destOrd="0" presId="urn:microsoft.com/office/officeart/2008/layout/HorizontalMultiLevelHierarchy"/>
    <dgm:cxn modelId="{F5BABD11-5F39-7040-8791-41CA89D5E2A1}" type="presParOf" srcId="{322C5A5A-9E25-6047-BB00-4DF750E135CE}" destId="{64F502CF-3E90-0B4E-886C-91AB3F51938D}" srcOrd="2" destOrd="0" presId="urn:microsoft.com/office/officeart/2008/layout/HorizontalMultiLevelHierarchy"/>
    <dgm:cxn modelId="{443C1E90-D744-AB4F-82E4-8FAB9DA3D478}" type="presParOf" srcId="{64F502CF-3E90-0B4E-886C-91AB3F51938D}" destId="{6FA82A28-C585-714B-9AF5-DA995FB3DF53}" srcOrd="0" destOrd="0" presId="urn:microsoft.com/office/officeart/2008/layout/HorizontalMultiLevelHierarchy"/>
    <dgm:cxn modelId="{578AECA1-8820-8845-A31B-19DF206D2461}" type="presParOf" srcId="{322C5A5A-9E25-6047-BB00-4DF750E135CE}" destId="{EC8B6A62-9FAE-5045-A1A4-029DC2356DF7}" srcOrd="3" destOrd="0" presId="urn:microsoft.com/office/officeart/2008/layout/HorizontalMultiLevelHierarchy"/>
    <dgm:cxn modelId="{A726B93D-CAB8-9B4F-A77A-A443B8401C4A}" type="presParOf" srcId="{EC8B6A62-9FAE-5045-A1A4-029DC2356DF7}" destId="{F9B786D6-8B73-AC47-BEA7-3780A17C3E39}" srcOrd="0" destOrd="0" presId="urn:microsoft.com/office/officeart/2008/layout/HorizontalMultiLevelHierarchy"/>
    <dgm:cxn modelId="{8A165735-518F-7140-9830-5940081C3032}" type="presParOf" srcId="{EC8B6A62-9FAE-5045-A1A4-029DC2356DF7}" destId="{6E27147E-0C63-E041-AB6B-5C0E60851726}" srcOrd="1" destOrd="0" presId="urn:microsoft.com/office/officeart/2008/layout/HorizontalMultiLevelHierarchy"/>
    <dgm:cxn modelId="{09A0BB02-63FB-C640-8B7D-970B82E2E6B1}" type="presParOf" srcId="{598DBB90-9C26-4C4B-AC1C-FF1827BF8D97}" destId="{60914178-E972-6747-98A5-9B1042D21399}" srcOrd="10" destOrd="0" presId="urn:microsoft.com/office/officeart/2008/layout/HorizontalMultiLevelHierarchy"/>
    <dgm:cxn modelId="{8AE4C2C3-46B8-354E-8D7F-3E1037CB5296}" type="presParOf" srcId="{60914178-E972-6747-98A5-9B1042D21399}" destId="{03FF4E40-A0E8-E040-A52F-D68379DCC349}" srcOrd="0" destOrd="0" presId="urn:microsoft.com/office/officeart/2008/layout/HorizontalMultiLevelHierarchy"/>
    <dgm:cxn modelId="{E3542E1F-3126-414C-B2BD-4B8EEBCDCC27}" type="presParOf" srcId="{598DBB90-9C26-4C4B-AC1C-FF1827BF8D97}" destId="{82D22835-936A-1D4B-AF7A-2D86C6FB8621}" srcOrd="11" destOrd="0" presId="urn:microsoft.com/office/officeart/2008/layout/HorizontalMultiLevelHierarchy"/>
    <dgm:cxn modelId="{6ED18682-60F7-C642-BE6E-41DC694CA09D}" type="presParOf" srcId="{82D22835-936A-1D4B-AF7A-2D86C6FB8621}" destId="{4D444EFA-484D-8B49-B53F-73AE5DAC83CB}" srcOrd="0" destOrd="0" presId="urn:microsoft.com/office/officeart/2008/layout/HorizontalMultiLevelHierarchy"/>
    <dgm:cxn modelId="{7A4E4622-D4CF-5842-B22A-147AB11D04EB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BED9F819-E6D0-6141-AD95-21D7AE75860F}" type="presOf" srcId="{B3C905E3-C669-9942-AEC9-21A47474CEB4}" destId="{DB79995B-B315-9C4C-BCA0-97AF2CF960CD}" srcOrd="1" destOrd="0" presId="urn:microsoft.com/office/officeart/2008/layout/HorizontalMultiLevelHierarchy"/>
    <dgm:cxn modelId="{8A73E96B-A5F0-904A-B58D-0A975A904538}" type="presOf" srcId="{B8771036-12B2-D843-AA17-BB631BA3F87D}" destId="{F9B786D6-8B73-AC47-BEA7-3780A17C3E39}" srcOrd="0" destOrd="0" presId="urn:microsoft.com/office/officeart/2008/layout/HorizontalMultiLevelHierarchy"/>
    <dgm:cxn modelId="{C102FD3F-F06A-4049-A920-CF6786513CC3}" type="presOf" srcId="{BBD19103-9913-2A49-AB85-F021773D5328}" destId="{64F502CF-3E90-0B4E-886C-91AB3F51938D}" srcOrd="0" destOrd="0" presId="urn:microsoft.com/office/officeart/2008/layout/HorizontalMultiLevelHierarchy"/>
    <dgm:cxn modelId="{26190AA7-BDC2-A244-9EAE-F31B63A50123}" type="presOf" srcId="{B4B50EEB-1538-DF45-B07F-7D0FD83C8ED3}" destId="{7C4C248C-9225-884B-A9F0-E626AEAE24C9}" srcOrd="1" destOrd="0" presId="urn:microsoft.com/office/officeart/2008/layout/HorizontalMultiLevelHierarchy"/>
    <dgm:cxn modelId="{0B54951D-BB00-D646-A2BE-DA626A702E5E}" type="presOf" srcId="{80BD7623-DCEC-2448-AB85-7A6B177B6EBB}" destId="{73B69BAE-7567-8E4E-A9B2-D2862F6B978E}" srcOrd="0" destOrd="0" presId="urn:microsoft.com/office/officeart/2008/layout/HorizontalMultiLevelHierarchy"/>
    <dgm:cxn modelId="{F208BA7E-23AE-7C40-9FED-664319ED19EE}" type="presOf" srcId="{07A4D93E-7AFB-4E4D-8384-CFBE7085BD56}" destId="{42308E2A-E89A-524C-8598-CEBE02495F63}" srcOrd="0" destOrd="0" presId="urn:microsoft.com/office/officeart/2008/layout/HorizontalMultiLevelHierarchy"/>
    <dgm:cxn modelId="{D0FE3600-B97F-EB4D-90BE-FE38CF175024}" type="presOf" srcId="{BBD19103-9913-2A49-AB85-F021773D5328}" destId="{6FA82A28-C585-714B-9AF5-DA995FB3DF53}" srcOrd="1" destOrd="0" presId="urn:microsoft.com/office/officeart/2008/layout/HorizontalMultiLevelHierarchy"/>
    <dgm:cxn modelId="{A8A90359-62FE-5E40-99F5-DCE111910912}" type="presOf" srcId="{5ADEDBF8-717E-F946-B11E-4CC50D9988C8}" destId="{AB33012A-8C54-6245-96E8-E0111C081E33}" srcOrd="1" destOrd="0" presId="urn:microsoft.com/office/officeart/2008/layout/HorizontalMultiLevelHierarchy"/>
    <dgm:cxn modelId="{614F98BB-78E8-C04F-A9D7-37FFDC72AF10}" type="presOf" srcId="{6577C284-4D20-2C4A-88D4-29EB6FEAC9C2}" destId="{A3F719CD-4C36-CF49-B90F-B8B40A2B29DE}" srcOrd="0" destOrd="0" presId="urn:microsoft.com/office/officeart/2008/layout/HorizontalMultiLevelHierarchy"/>
    <dgm:cxn modelId="{8AACEA7D-152A-8F41-A078-07577326F0B1}" type="presOf" srcId="{8B212141-5DD9-384A-A240-561E72DAAF7B}" destId="{21C89BDE-E13D-974B-B17D-6B6CDBB2C8DB}" srcOrd="0" destOrd="0" presId="urn:microsoft.com/office/officeart/2008/layout/HorizontalMultiLevelHierarchy"/>
    <dgm:cxn modelId="{24F78F09-E0B5-EE41-A6C6-58B709371EA1}" type="presOf" srcId="{63D1AE09-4F57-A443-A1FD-2A3034962097}" destId="{B7A5E06F-5B4B-C947-BFA6-C1FA5998CE54}" srcOrd="0" destOrd="0" presId="urn:microsoft.com/office/officeart/2008/layout/HorizontalMultiLevelHierarchy"/>
    <dgm:cxn modelId="{E719650C-238A-774D-A64D-6F287306D21E}" type="presOf" srcId="{1333B56B-0FB7-DB46-BFA8-14BA9E09141B}" destId="{9E30CAA0-C8DA-7340-9AC5-F7AFBAE25743}" srcOrd="0" destOrd="0" presId="urn:microsoft.com/office/officeart/2008/layout/HorizontalMultiLevelHierarchy"/>
    <dgm:cxn modelId="{DEB37C8F-B079-4848-B6C4-4E05F394548A}" type="presOf" srcId="{516F75D9-69F5-0544-995D-CFB72352B59F}" destId="{887F982A-9047-D440-AFAC-0FD9C008886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AA9D4A8-3E1C-9849-A138-6DB807175993}" type="presOf" srcId="{134C8002-4160-B046-917F-B9172D6D011E}" destId="{569810E7-365A-FB48-A979-23DA3465EF4F}" srcOrd="1" destOrd="0" presId="urn:microsoft.com/office/officeart/2008/layout/HorizontalMultiLevelHierarchy"/>
    <dgm:cxn modelId="{3039B057-AE5D-F94F-92B9-87FCB89DBF48}" type="presOf" srcId="{6577C284-4D20-2C4A-88D4-29EB6FEAC9C2}" destId="{348A166D-A55E-9147-99A1-FB87A4CF61A8}" srcOrd="1" destOrd="0" presId="urn:microsoft.com/office/officeart/2008/layout/HorizontalMultiLevelHierarchy"/>
    <dgm:cxn modelId="{01834EB2-2D46-024E-8C8E-3BE87B873977}" type="presOf" srcId="{134C8002-4160-B046-917F-B9172D6D011E}" destId="{33DDFCA5-CC66-CC45-A430-EDF4DA53BA93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1841AA47-0B70-FD41-935E-A2D358A2645F}" type="presOf" srcId="{5E2A7D5A-EFB6-9C4F-A960-3D6903C39497}" destId="{1442578F-E924-E34F-9FA5-3F4C2CF65BC9}" srcOrd="0" destOrd="0" presId="urn:microsoft.com/office/officeart/2008/layout/HorizontalMultiLevelHierarchy"/>
    <dgm:cxn modelId="{F8EF500F-CF95-BC4F-8CF9-CDA09823A8D1}" type="presOf" srcId="{07A4D93E-7AFB-4E4D-8384-CFBE7085BD56}" destId="{9D34DFA2-4C7C-5642-ADF0-8F3EDFBC71AF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23A2D7-3E51-BE49-AA66-85A7BC0915D9}" type="presOf" srcId="{174F7A28-653D-6F45-9860-935E35504EE1}" destId="{4D444EFA-484D-8B49-B53F-73AE5DAC83CB}" srcOrd="0" destOrd="0" presId="urn:microsoft.com/office/officeart/2008/layout/HorizontalMultiLevelHierarchy"/>
    <dgm:cxn modelId="{17D0055F-AE7D-1748-823E-190733DCE4A2}" type="presOf" srcId="{73DD7058-02B4-D24C-9D13-AF75375EF8E6}" destId="{12E46C15-0F90-7843-8745-7EFB583D5A38}" srcOrd="1" destOrd="0" presId="urn:microsoft.com/office/officeart/2008/layout/HorizontalMultiLevelHierarchy"/>
    <dgm:cxn modelId="{52E05CE1-7A35-AD4D-B6B6-E483EB12CE85}" type="presOf" srcId="{08733529-A5F0-F14D-8E75-74214329B040}" destId="{A635BF91-C219-EB46-A0CA-F8A2CE3D7BF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0CF7578-9DD2-A740-AC78-3B8398DFBFB8}" type="presOf" srcId="{990267CF-EA89-A240-9514-9AFC12BBADEE}" destId="{03DEAF18-EC72-C047-A9B4-C65BE189F02C}" srcOrd="0" destOrd="0" presId="urn:microsoft.com/office/officeart/2008/layout/HorizontalMultiLevelHierarchy"/>
    <dgm:cxn modelId="{6DA296B1-5CCF-834A-9F5F-EBB6EB8FA7D8}" type="presOf" srcId="{B3C905E3-C669-9942-AEC9-21A47474CEB4}" destId="{996189F3-00B3-7D49-A5FC-5430A26FB618}" srcOrd="0" destOrd="0" presId="urn:microsoft.com/office/officeart/2008/layout/HorizontalMultiLevelHierarchy"/>
    <dgm:cxn modelId="{87E5F4A6-0D80-2D4A-8D29-7F356B02F0A1}" type="presOf" srcId="{C0976C3D-B466-7D45-ABFB-2E3685B2F19C}" destId="{D35EA19E-870C-2F44-A620-E6B51FB20589}" srcOrd="0" destOrd="0" presId="urn:microsoft.com/office/officeart/2008/layout/HorizontalMultiLevelHierarchy"/>
    <dgm:cxn modelId="{FB19648E-3502-0B4F-811C-3FAD99C92549}" type="presOf" srcId="{EF2BFDE9-4D1F-3049-B62C-65BE59459C50}" destId="{5167760A-1265-4C43-B02A-4A72B3B39F5E}" srcOrd="0" destOrd="0" presId="urn:microsoft.com/office/officeart/2008/layout/HorizontalMultiLevelHierarchy"/>
    <dgm:cxn modelId="{DB58A9C6-35AB-7A4A-8DD8-36E58EA28219}" type="presOf" srcId="{BA9C693C-1CF5-6E4E-A8C4-1E304AFD6DF5}" destId="{99E936FD-8649-9640-96D2-9202E1CEC417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73602BA2-19D6-F34F-9DE0-8D54DF64920B}" type="presOf" srcId="{90FBF026-5068-6043-A75B-344D047E346D}" destId="{2242491C-75CB-654B-ABCA-74AF8E25B4E8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83429AD7-804F-E247-A91F-F9996D064896}" type="presOf" srcId="{9EB1846C-ABB5-9E44-B030-7BE73C498E59}" destId="{60914178-E972-6747-98A5-9B1042D21399}" srcOrd="0" destOrd="0" presId="urn:microsoft.com/office/officeart/2008/layout/HorizontalMultiLevelHierarchy"/>
    <dgm:cxn modelId="{5ECCE1ED-B0B3-2045-95FE-0EFE33D4F95E}" type="presOf" srcId="{73DD7058-02B4-D24C-9D13-AF75375EF8E6}" destId="{55365CED-83D4-194F-A914-2CFC37CD9B45}" srcOrd="0" destOrd="0" presId="urn:microsoft.com/office/officeart/2008/layout/HorizontalMultiLevelHierarchy"/>
    <dgm:cxn modelId="{D889C9CA-D8C9-A046-B720-E18DDFABD7FD}" type="presOf" srcId="{0726F871-37F4-AB40-AF73-6656D7E9C85D}" destId="{613226CB-11A4-C549-82A6-64B9BCFE1002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6CCC6549-3AB0-5547-AF55-17D6604BC827}" type="presOf" srcId="{90FBF026-5068-6043-A75B-344D047E346D}" destId="{62990B64-CF79-7146-BF7B-48A759C6E310}" srcOrd="1" destOrd="0" presId="urn:microsoft.com/office/officeart/2008/layout/HorizontalMultiLevelHierarchy"/>
    <dgm:cxn modelId="{EF6FE42E-6546-B84F-A731-E8C04B4D2BCD}" type="presOf" srcId="{9EB1846C-ABB5-9E44-B030-7BE73C498E59}" destId="{03FF4E40-A0E8-E040-A52F-D68379DCC349}" srcOrd="1" destOrd="0" presId="urn:microsoft.com/office/officeart/2008/layout/HorizontalMultiLevelHierarchy"/>
    <dgm:cxn modelId="{D8A8A3B8-F8F3-254F-9D5E-23C1DB3825AD}" type="presOf" srcId="{11D7D97A-F1CC-6A49-92BA-1094CF9B8EE3}" destId="{84732D04-01E1-2742-A082-1195BCDCDEC2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9B27B2D-B1FE-A146-970C-1A461011B935}" type="presOf" srcId="{488E1B12-EE7C-9246-8169-00D4E05307C4}" destId="{5E781A07-1968-A143-88EC-827822313B55}" srcOrd="0" destOrd="0" presId="urn:microsoft.com/office/officeart/2008/layout/HorizontalMultiLevelHierarchy"/>
    <dgm:cxn modelId="{1820809C-8D67-A348-ADE6-78B5FFF89A79}" type="presOf" srcId="{5E2A7D5A-EFB6-9C4F-A960-3D6903C39497}" destId="{E59B7B1E-3287-FB43-A405-2A84667315EC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F416B3D7-3569-3949-9FA5-D689B452965B}" type="presOf" srcId="{B4B50EEB-1538-DF45-B07F-7D0FD83C8ED3}" destId="{91975744-72FE-E947-98E3-ECF3B2E7C3DC}" srcOrd="0" destOrd="0" presId="urn:microsoft.com/office/officeart/2008/layout/HorizontalMultiLevelHierarchy"/>
    <dgm:cxn modelId="{A37FD6AD-3D2E-7447-A8A6-297FFB47D68E}" type="presOf" srcId="{5ADEDBF8-717E-F946-B11E-4CC50D9988C8}" destId="{D778007E-9974-2C41-910F-E1E5562B090A}" srcOrd="0" destOrd="0" presId="urn:microsoft.com/office/officeart/2008/layout/HorizontalMultiLevelHierarchy"/>
    <dgm:cxn modelId="{C2184C29-A1AE-B54D-9C25-81B08916063C}" type="presOf" srcId="{7E0C02E8-17C2-874D-B6DE-8E3A1D3437C9}" destId="{448042B3-2CED-424C-815C-8FD3B3AD8A39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A4EC6C1B-579D-1743-9D02-3A39E5E33E56}" type="presOf" srcId="{26144DC7-9794-3E4B-BF8F-331E25884D5F}" destId="{921A596F-4B37-494E-B07C-17FD734C6406}" srcOrd="0" destOrd="0" presId="urn:microsoft.com/office/officeart/2008/layout/HorizontalMultiLevelHierarchy"/>
    <dgm:cxn modelId="{9EC3F9F0-D2E1-FA41-B320-4065455F8B56}" type="presOf" srcId="{63D1AE09-4F57-A443-A1FD-2A3034962097}" destId="{04D949B2-6FA5-4948-B335-DDA85E4E65B1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12BAD5DC-136B-A548-9A16-5E0BAFAA210E}" type="presOf" srcId="{08733529-A5F0-F14D-8E75-74214329B040}" destId="{393A7F55-569D-7A48-ACE0-063418018375}" srcOrd="0" destOrd="0" presId="urn:microsoft.com/office/officeart/2008/layout/HorizontalMultiLevelHierarchy"/>
    <dgm:cxn modelId="{3856AFED-58DC-1242-B403-AF607A4DF81D}" type="presParOf" srcId="{613226CB-11A4-C549-82A6-64B9BCFE1002}" destId="{3BA40406-1E55-1642-A22A-B49F5A173AC8}" srcOrd="0" destOrd="0" presId="urn:microsoft.com/office/officeart/2008/layout/HorizontalMultiLevelHierarchy"/>
    <dgm:cxn modelId="{5E6C13EE-4CEB-7140-8012-57763ADAE7E0}" type="presParOf" srcId="{3BA40406-1E55-1642-A22A-B49F5A173AC8}" destId="{99E936FD-8649-9640-96D2-9202E1CEC417}" srcOrd="0" destOrd="0" presId="urn:microsoft.com/office/officeart/2008/layout/HorizontalMultiLevelHierarchy"/>
    <dgm:cxn modelId="{06ACE5DB-E050-784C-A788-63AD9E98A215}" type="presParOf" srcId="{3BA40406-1E55-1642-A22A-B49F5A173AC8}" destId="{598DBB90-9C26-4C4B-AC1C-FF1827BF8D97}" srcOrd="1" destOrd="0" presId="urn:microsoft.com/office/officeart/2008/layout/HorizontalMultiLevelHierarchy"/>
    <dgm:cxn modelId="{A88426CC-4B42-564C-BDC7-7E9C78976839}" type="presParOf" srcId="{598DBB90-9C26-4C4B-AC1C-FF1827BF8D97}" destId="{D778007E-9974-2C41-910F-E1E5562B090A}" srcOrd="0" destOrd="0" presId="urn:microsoft.com/office/officeart/2008/layout/HorizontalMultiLevelHierarchy"/>
    <dgm:cxn modelId="{A05BE6E7-E53F-4F40-A596-0C35EE23B973}" type="presParOf" srcId="{D778007E-9974-2C41-910F-E1E5562B090A}" destId="{AB33012A-8C54-6245-96E8-E0111C081E33}" srcOrd="0" destOrd="0" presId="urn:microsoft.com/office/officeart/2008/layout/HorizontalMultiLevelHierarchy"/>
    <dgm:cxn modelId="{62E47229-DEF6-B546-AD4A-CB1301461F6A}" type="presParOf" srcId="{598DBB90-9C26-4C4B-AC1C-FF1827BF8D97}" destId="{BCA6FE17-8DB6-0242-A6E4-C7D3971EBD97}" srcOrd="1" destOrd="0" presId="urn:microsoft.com/office/officeart/2008/layout/HorizontalMultiLevelHierarchy"/>
    <dgm:cxn modelId="{91CEB95C-D6CC-0849-BAEC-41CEE99AFF60}" type="presParOf" srcId="{BCA6FE17-8DB6-0242-A6E4-C7D3971EBD97}" destId="{5E781A07-1968-A143-88EC-827822313B55}" srcOrd="0" destOrd="0" presId="urn:microsoft.com/office/officeart/2008/layout/HorizontalMultiLevelHierarchy"/>
    <dgm:cxn modelId="{D64172D4-F560-134A-90B5-2BC5AC720B01}" type="presParOf" srcId="{BCA6FE17-8DB6-0242-A6E4-C7D3971EBD97}" destId="{BDDED42C-20CE-EF4E-85AA-7830E9428B23}" srcOrd="1" destOrd="0" presId="urn:microsoft.com/office/officeart/2008/layout/HorizontalMultiLevelHierarchy"/>
    <dgm:cxn modelId="{6EB24411-6F74-E64A-9A2D-D390F9334809}" type="presParOf" srcId="{598DBB90-9C26-4C4B-AC1C-FF1827BF8D97}" destId="{B7A5E06F-5B4B-C947-BFA6-C1FA5998CE54}" srcOrd="2" destOrd="0" presId="urn:microsoft.com/office/officeart/2008/layout/HorizontalMultiLevelHierarchy"/>
    <dgm:cxn modelId="{E4E8391D-9EE8-FF46-85E4-8AF50F7AD3EC}" type="presParOf" srcId="{B7A5E06F-5B4B-C947-BFA6-C1FA5998CE54}" destId="{04D949B2-6FA5-4948-B335-DDA85E4E65B1}" srcOrd="0" destOrd="0" presId="urn:microsoft.com/office/officeart/2008/layout/HorizontalMultiLevelHierarchy"/>
    <dgm:cxn modelId="{3920D421-715F-824A-BE45-59632FAA4C38}" type="presParOf" srcId="{598DBB90-9C26-4C4B-AC1C-FF1827BF8D97}" destId="{5B0B9041-BDB4-7141-9957-0BEAFB33AEFE}" srcOrd="3" destOrd="0" presId="urn:microsoft.com/office/officeart/2008/layout/HorizontalMultiLevelHierarchy"/>
    <dgm:cxn modelId="{AD852ACD-2A81-F74B-98DE-034327490FC4}" type="presParOf" srcId="{5B0B9041-BDB4-7141-9957-0BEAFB33AEFE}" destId="{D35EA19E-870C-2F44-A620-E6B51FB20589}" srcOrd="0" destOrd="0" presId="urn:microsoft.com/office/officeart/2008/layout/HorizontalMultiLevelHierarchy"/>
    <dgm:cxn modelId="{17A66D3E-A4F3-4249-B716-24B8C6DFA8B0}" type="presParOf" srcId="{5B0B9041-BDB4-7141-9957-0BEAFB33AEFE}" destId="{62348515-9687-1045-ADA1-3184EC8CEC61}" srcOrd="1" destOrd="0" presId="urn:microsoft.com/office/officeart/2008/layout/HorizontalMultiLevelHierarchy"/>
    <dgm:cxn modelId="{59EBEE30-41A3-DF46-80DD-903037F434EE}" type="presParOf" srcId="{598DBB90-9C26-4C4B-AC1C-FF1827BF8D97}" destId="{42308E2A-E89A-524C-8598-CEBE02495F63}" srcOrd="4" destOrd="0" presId="urn:microsoft.com/office/officeart/2008/layout/HorizontalMultiLevelHierarchy"/>
    <dgm:cxn modelId="{309FA2D6-AC3A-2346-8937-05C653AFE2F4}" type="presParOf" srcId="{42308E2A-E89A-524C-8598-CEBE02495F63}" destId="{9D34DFA2-4C7C-5642-ADF0-8F3EDFBC71AF}" srcOrd="0" destOrd="0" presId="urn:microsoft.com/office/officeart/2008/layout/HorizontalMultiLevelHierarchy"/>
    <dgm:cxn modelId="{83ADD79D-B722-4D45-9E9C-6A1B0FDCBBCF}" type="presParOf" srcId="{598DBB90-9C26-4C4B-AC1C-FF1827BF8D97}" destId="{5A37FE29-273D-2F4A-BA74-A981AFDF7035}" srcOrd="5" destOrd="0" presId="urn:microsoft.com/office/officeart/2008/layout/HorizontalMultiLevelHierarchy"/>
    <dgm:cxn modelId="{1661B2AB-F5B4-D540-908C-39A7FC2E05A1}" type="presParOf" srcId="{5A37FE29-273D-2F4A-BA74-A981AFDF7035}" destId="{887F982A-9047-D440-AFAC-0FD9C008886A}" srcOrd="0" destOrd="0" presId="urn:microsoft.com/office/officeart/2008/layout/HorizontalMultiLevelHierarchy"/>
    <dgm:cxn modelId="{33529DCF-B015-0B41-AA7D-FF17ED32C1F1}" type="presParOf" srcId="{5A37FE29-273D-2F4A-BA74-A981AFDF7035}" destId="{740B7AF0-357F-C843-8A5C-C85C349471AE}" srcOrd="1" destOrd="0" presId="urn:microsoft.com/office/officeart/2008/layout/HorizontalMultiLevelHierarchy"/>
    <dgm:cxn modelId="{4237547F-CC96-A648-B92D-481058F49CBA}" type="presParOf" srcId="{598DBB90-9C26-4C4B-AC1C-FF1827BF8D97}" destId="{996189F3-00B3-7D49-A5FC-5430A26FB618}" srcOrd="6" destOrd="0" presId="urn:microsoft.com/office/officeart/2008/layout/HorizontalMultiLevelHierarchy"/>
    <dgm:cxn modelId="{93452A0A-2CFE-634B-B53D-067C3AFFE3A8}" type="presParOf" srcId="{996189F3-00B3-7D49-A5FC-5430A26FB618}" destId="{DB79995B-B315-9C4C-BCA0-97AF2CF960CD}" srcOrd="0" destOrd="0" presId="urn:microsoft.com/office/officeart/2008/layout/HorizontalMultiLevelHierarchy"/>
    <dgm:cxn modelId="{442F38C2-1734-594E-A61C-97DD5E2425EA}" type="presParOf" srcId="{598DBB90-9C26-4C4B-AC1C-FF1827BF8D97}" destId="{7361FCA1-91C1-7340-94A4-772CB0377746}" srcOrd="7" destOrd="0" presId="urn:microsoft.com/office/officeart/2008/layout/HorizontalMultiLevelHierarchy"/>
    <dgm:cxn modelId="{00E95AF3-C8C5-684D-ABE7-E82382CC8969}" type="presParOf" srcId="{7361FCA1-91C1-7340-94A4-772CB0377746}" destId="{9E30CAA0-C8DA-7340-9AC5-F7AFBAE25743}" srcOrd="0" destOrd="0" presId="urn:microsoft.com/office/officeart/2008/layout/HorizontalMultiLevelHierarchy"/>
    <dgm:cxn modelId="{A24AE31D-A64C-934D-9075-8F9FB5761367}" type="presParOf" srcId="{7361FCA1-91C1-7340-94A4-772CB0377746}" destId="{75AE1B1C-8672-CF47-8665-1AE6D32AB23F}" srcOrd="1" destOrd="0" presId="urn:microsoft.com/office/officeart/2008/layout/HorizontalMultiLevelHierarchy"/>
    <dgm:cxn modelId="{9333F947-B675-234F-84F2-3F53CEB36210}" type="presParOf" srcId="{598DBB90-9C26-4C4B-AC1C-FF1827BF8D97}" destId="{1442578F-E924-E34F-9FA5-3F4C2CF65BC9}" srcOrd="8" destOrd="0" presId="urn:microsoft.com/office/officeart/2008/layout/HorizontalMultiLevelHierarchy"/>
    <dgm:cxn modelId="{90FDA034-7E63-B24E-AE02-33FDAEEC763E}" type="presParOf" srcId="{1442578F-E924-E34F-9FA5-3F4C2CF65BC9}" destId="{E59B7B1E-3287-FB43-A405-2A84667315EC}" srcOrd="0" destOrd="0" presId="urn:microsoft.com/office/officeart/2008/layout/HorizontalMultiLevelHierarchy"/>
    <dgm:cxn modelId="{096771D5-9A91-B546-A340-EF8CDB2A57F5}" type="presParOf" srcId="{598DBB90-9C26-4C4B-AC1C-FF1827BF8D97}" destId="{6188AF91-8F5E-7F4E-A0A2-13FA32167F53}" srcOrd="9" destOrd="0" presId="urn:microsoft.com/office/officeart/2008/layout/HorizontalMultiLevelHierarchy"/>
    <dgm:cxn modelId="{FBBE31B5-B98C-D847-A19F-3CC0933C8E84}" type="presParOf" srcId="{6188AF91-8F5E-7F4E-A0A2-13FA32167F53}" destId="{5167760A-1265-4C43-B02A-4A72B3B39F5E}" srcOrd="0" destOrd="0" presId="urn:microsoft.com/office/officeart/2008/layout/HorizontalMultiLevelHierarchy"/>
    <dgm:cxn modelId="{0258272E-80EE-1344-915B-C80AC8E5CF92}" type="presParOf" srcId="{6188AF91-8F5E-7F4E-A0A2-13FA32167F53}" destId="{21F2C295-F343-AC4A-8BE2-CFD4DAC170AE}" srcOrd="1" destOrd="0" presId="urn:microsoft.com/office/officeart/2008/layout/HorizontalMultiLevelHierarchy"/>
    <dgm:cxn modelId="{F7BB386F-AFA4-B64C-846C-9FEA2FA9512F}" type="presParOf" srcId="{598DBB90-9C26-4C4B-AC1C-FF1827BF8D97}" destId="{A3F719CD-4C36-CF49-B90F-B8B40A2B29DE}" srcOrd="10" destOrd="0" presId="urn:microsoft.com/office/officeart/2008/layout/HorizontalMultiLevelHierarchy"/>
    <dgm:cxn modelId="{41270208-46AE-2C4B-AEFB-BC96125A44C7}" type="presParOf" srcId="{A3F719CD-4C36-CF49-B90F-B8B40A2B29DE}" destId="{348A166D-A55E-9147-99A1-FB87A4CF61A8}" srcOrd="0" destOrd="0" presId="urn:microsoft.com/office/officeart/2008/layout/HorizontalMultiLevelHierarchy"/>
    <dgm:cxn modelId="{5FB6FDE3-59C9-4E4F-AE01-EFBE9FD5A47F}" type="presParOf" srcId="{598DBB90-9C26-4C4B-AC1C-FF1827BF8D97}" destId="{175E4F2C-D898-EE44-A4E7-79846E237DB4}" srcOrd="11" destOrd="0" presId="urn:microsoft.com/office/officeart/2008/layout/HorizontalMultiLevelHierarchy"/>
    <dgm:cxn modelId="{33F72F8A-E111-6C4E-934F-E3CC81502423}" type="presParOf" srcId="{175E4F2C-D898-EE44-A4E7-79846E237DB4}" destId="{921A596F-4B37-494E-B07C-17FD734C6406}" srcOrd="0" destOrd="0" presId="urn:microsoft.com/office/officeart/2008/layout/HorizontalMultiLevelHierarchy"/>
    <dgm:cxn modelId="{B3004481-4211-7A47-9850-2EA41C771400}" type="presParOf" srcId="{175E4F2C-D898-EE44-A4E7-79846E237DB4}" destId="{A9D518F9-DAB2-4E45-9ECB-39AA13A01564}" srcOrd="1" destOrd="0" presId="urn:microsoft.com/office/officeart/2008/layout/HorizontalMultiLevelHierarchy"/>
    <dgm:cxn modelId="{8B22228E-C6CB-894D-87D7-D72C82D61775}" type="presParOf" srcId="{598DBB90-9C26-4C4B-AC1C-FF1827BF8D97}" destId="{33DDFCA5-CC66-CC45-A430-EDF4DA53BA93}" srcOrd="12" destOrd="0" presId="urn:microsoft.com/office/officeart/2008/layout/HorizontalMultiLevelHierarchy"/>
    <dgm:cxn modelId="{3CBCD5E0-3DF9-AA4F-B7B6-DD11805A26EB}" type="presParOf" srcId="{33DDFCA5-CC66-CC45-A430-EDF4DA53BA93}" destId="{569810E7-365A-FB48-A979-23DA3465EF4F}" srcOrd="0" destOrd="0" presId="urn:microsoft.com/office/officeart/2008/layout/HorizontalMultiLevelHierarchy"/>
    <dgm:cxn modelId="{CD6DEEBF-20A4-CB4F-B719-F4CD8DFCB3D9}" type="presParOf" srcId="{598DBB90-9C26-4C4B-AC1C-FF1827BF8D97}" destId="{299D8B01-3ECB-7743-BE59-35C50BD6249A}" srcOrd="13" destOrd="0" presId="urn:microsoft.com/office/officeart/2008/layout/HorizontalMultiLevelHierarchy"/>
    <dgm:cxn modelId="{5F20A2C3-ABEC-184A-8233-DB039B474719}" type="presParOf" srcId="{299D8B01-3ECB-7743-BE59-35C50BD6249A}" destId="{03DEAF18-EC72-C047-A9B4-C65BE189F02C}" srcOrd="0" destOrd="0" presId="urn:microsoft.com/office/officeart/2008/layout/HorizontalMultiLevelHierarchy"/>
    <dgm:cxn modelId="{24F39CEA-DB6C-E843-AFF7-06E537CB4B02}" type="presParOf" srcId="{299D8B01-3ECB-7743-BE59-35C50BD6249A}" destId="{322C5A5A-9E25-6047-BB00-4DF750E135CE}" srcOrd="1" destOrd="0" presId="urn:microsoft.com/office/officeart/2008/layout/HorizontalMultiLevelHierarchy"/>
    <dgm:cxn modelId="{3ADA6462-0445-454E-AD22-7751EEF25FEF}" type="presParOf" srcId="{322C5A5A-9E25-6047-BB00-4DF750E135CE}" destId="{393A7F55-569D-7A48-ACE0-063418018375}" srcOrd="0" destOrd="0" presId="urn:microsoft.com/office/officeart/2008/layout/HorizontalMultiLevelHierarchy"/>
    <dgm:cxn modelId="{42547957-0834-7545-9FD5-188465339177}" type="presParOf" srcId="{393A7F55-569D-7A48-ACE0-063418018375}" destId="{A635BF91-C219-EB46-A0CA-F8A2CE3D7BF3}" srcOrd="0" destOrd="0" presId="urn:microsoft.com/office/officeart/2008/layout/HorizontalMultiLevelHierarchy"/>
    <dgm:cxn modelId="{C90E6472-31C6-9547-B540-391421781FF8}" type="presParOf" srcId="{322C5A5A-9E25-6047-BB00-4DF750E135CE}" destId="{55918953-A6CF-814A-89F9-551623EBC010}" srcOrd="1" destOrd="0" presId="urn:microsoft.com/office/officeart/2008/layout/HorizontalMultiLevelHierarchy"/>
    <dgm:cxn modelId="{BCF6B2A3-9827-EE40-B98C-5D164A16EA64}" type="presParOf" srcId="{55918953-A6CF-814A-89F9-551623EBC010}" destId="{448042B3-2CED-424C-815C-8FD3B3AD8A39}" srcOrd="0" destOrd="0" presId="urn:microsoft.com/office/officeart/2008/layout/HorizontalMultiLevelHierarchy"/>
    <dgm:cxn modelId="{2BFE28C2-C43F-7544-9972-4E39DBBB944D}" type="presParOf" srcId="{55918953-A6CF-814A-89F9-551623EBC010}" destId="{4C59A0B4-1525-104C-AAB2-E79163983336}" srcOrd="1" destOrd="0" presId="urn:microsoft.com/office/officeart/2008/layout/HorizontalMultiLevelHierarchy"/>
    <dgm:cxn modelId="{C64E4C54-1C0F-274F-BC3F-B592ECCC7B90}" type="presParOf" srcId="{322C5A5A-9E25-6047-BB00-4DF750E135CE}" destId="{64F502CF-3E90-0B4E-886C-91AB3F51938D}" srcOrd="2" destOrd="0" presId="urn:microsoft.com/office/officeart/2008/layout/HorizontalMultiLevelHierarchy"/>
    <dgm:cxn modelId="{F76D3884-4E99-A34D-BA5E-07434E6B18A4}" type="presParOf" srcId="{64F502CF-3E90-0B4E-886C-91AB3F51938D}" destId="{6FA82A28-C585-714B-9AF5-DA995FB3DF53}" srcOrd="0" destOrd="0" presId="urn:microsoft.com/office/officeart/2008/layout/HorizontalMultiLevelHierarchy"/>
    <dgm:cxn modelId="{5EA1281A-421B-5941-9C94-05A63C3D0750}" type="presParOf" srcId="{322C5A5A-9E25-6047-BB00-4DF750E135CE}" destId="{EC8B6A62-9FAE-5045-A1A4-029DC2356DF7}" srcOrd="3" destOrd="0" presId="urn:microsoft.com/office/officeart/2008/layout/HorizontalMultiLevelHierarchy"/>
    <dgm:cxn modelId="{8711677B-2893-C742-93F4-BF0F2C358F62}" type="presParOf" srcId="{EC8B6A62-9FAE-5045-A1A4-029DC2356DF7}" destId="{F9B786D6-8B73-AC47-BEA7-3780A17C3E39}" srcOrd="0" destOrd="0" presId="urn:microsoft.com/office/officeart/2008/layout/HorizontalMultiLevelHierarchy"/>
    <dgm:cxn modelId="{11106D56-4C11-E749-A741-C30BB821799B}" type="presParOf" srcId="{EC8B6A62-9FAE-5045-A1A4-029DC2356DF7}" destId="{6E27147E-0C63-E041-AB6B-5C0E60851726}" srcOrd="1" destOrd="0" presId="urn:microsoft.com/office/officeart/2008/layout/HorizontalMultiLevelHierarchy"/>
    <dgm:cxn modelId="{307F3629-FBA4-2A42-8CBC-EEEBB2B0803C}" type="presParOf" srcId="{598DBB90-9C26-4C4B-AC1C-FF1827BF8D97}" destId="{60914178-E972-6747-98A5-9B1042D21399}" srcOrd="14" destOrd="0" presId="urn:microsoft.com/office/officeart/2008/layout/HorizontalMultiLevelHierarchy"/>
    <dgm:cxn modelId="{37CB61EA-5A0C-AC4B-91EB-3372F0B040EA}" type="presParOf" srcId="{60914178-E972-6747-98A5-9B1042D21399}" destId="{03FF4E40-A0E8-E040-A52F-D68379DCC349}" srcOrd="0" destOrd="0" presId="urn:microsoft.com/office/officeart/2008/layout/HorizontalMultiLevelHierarchy"/>
    <dgm:cxn modelId="{C8A31267-7A65-3E4B-AE07-4041F108CC39}" type="presParOf" srcId="{598DBB90-9C26-4C4B-AC1C-FF1827BF8D97}" destId="{82D22835-936A-1D4B-AF7A-2D86C6FB8621}" srcOrd="15" destOrd="0" presId="urn:microsoft.com/office/officeart/2008/layout/HorizontalMultiLevelHierarchy"/>
    <dgm:cxn modelId="{71BDD98C-4105-E840-ABAC-C40A54A8977A}" type="presParOf" srcId="{82D22835-936A-1D4B-AF7A-2D86C6FB8621}" destId="{4D444EFA-484D-8B49-B53F-73AE5DAC83CB}" srcOrd="0" destOrd="0" presId="urn:microsoft.com/office/officeart/2008/layout/HorizontalMultiLevelHierarchy"/>
    <dgm:cxn modelId="{CFD0DD9A-B593-FE42-97C6-B1612602B580}" type="presParOf" srcId="{82D22835-936A-1D4B-AF7A-2D86C6FB8621}" destId="{780003EA-E55D-2544-948D-2BA68EB5F8A9}" srcOrd="1" destOrd="0" presId="urn:microsoft.com/office/officeart/2008/layout/HorizontalMultiLevelHierarchy"/>
    <dgm:cxn modelId="{CD916265-ED29-E842-B4FD-815B4D8EAA06}" type="presParOf" srcId="{598DBB90-9C26-4C4B-AC1C-FF1827BF8D97}" destId="{91975744-72FE-E947-98E3-ECF3B2E7C3DC}" srcOrd="16" destOrd="0" presId="urn:microsoft.com/office/officeart/2008/layout/HorizontalMultiLevelHierarchy"/>
    <dgm:cxn modelId="{79C4D351-DE65-464F-8245-9359A341EB18}" type="presParOf" srcId="{91975744-72FE-E947-98E3-ECF3B2E7C3DC}" destId="{7C4C248C-9225-884B-A9F0-E626AEAE24C9}" srcOrd="0" destOrd="0" presId="urn:microsoft.com/office/officeart/2008/layout/HorizontalMultiLevelHierarchy"/>
    <dgm:cxn modelId="{E768039A-1987-5B41-BFDE-3BEA7BD0B3C7}" type="presParOf" srcId="{598DBB90-9C26-4C4B-AC1C-FF1827BF8D97}" destId="{FD91877E-03C5-8D41-B768-0E4703294F6C}" srcOrd="17" destOrd="0" presId="urn:microsoft.com/office/officeart/2008/layout/HorizontalMultiLevelHierarchy"/>
    <dgm:cxn modelId="{5B022EC8-1B23-7A43-8868-23CDBE489778}" type="presParOf" srcId="{FD91877E-03C5-8D41-B768-0E4703294F6C}" destId="{73B69BAE-7567-8E4E-A9B2-D2862F6B978E}" srcOrd="0" destOrd="0" presId="urn:microsoft.com/office/officeart/2008/layout/HorizontalMultiLevelHierarchy"/>
    <dgm:cxn modelId="{74900D4D-14AA-1647-B864-C19C6999A5FB}" type="presParOf" srcId="{FD91877E-03C5-8D41-B768-0E4703294F6C}" destId="{27C85358-980A-884D-9DDA-63018758070E}" srcOrd="1" destOrd="0" presId="urn:microsoft.com/office/officeart/2008/layout/HorizontalMultiLevelHierarchy"/>
    <dgm:cxn modelId="{B727C70B-8468-DD43-A265-C98F64877340}" type="presParOf" srcId="{27C85358-980A-884D-9DDA-63018758070E}" destId="{55365CED-83D4-194F-A914-2CFC37CD9B45}" srcOrd="0" destOrd="0" presId="urn:microsoft.com/office/officeart/2008/layout/HorizontalMultiLevelHierarchy"/>
    <dgm:cxn modelId="{A4D6875E-49CE-3E4B-B1E7-9C8ADD1688E3}" type="presParOf" srcId="{55365CED-83D4-194F-A914-2CFC37CD9B45}" destId="{12E46C15-0F90-7843-8745-7EFB583D5A38}" srcOrd="0" destOrd="0" presId="urn:microsoft.com/office/officeart/2008/layout/HorizontalMultiLevelHierarchy"/>
    <dgm:cxn modelId="{B10DAFF7-996E-C74F-AB2B-453FEA7AA266}" type="presParOf" srcId="{27C85358-980A-884D-9DDA-63018758070E}" destId="{76889E03-95A4-234A-BE0C-87E6CEF02D37}" srcOrd="1" destOrd="0" presId="urn:microsoft.com/office/officeart/2008/layout/HorizontalMultiLevelHierarchy"/>
    <dgm:cxn modelId="{A0BC60B6-EEE5-9747-A1C2-0498508A32FB}" type="presParOf" srcId="{76889E03-95A4-234A-BE0C-87E6CEF02D37}" destId="{21C89BDE-E13D-974B-B17D-6B6CDBB2C8DB}" srcOrd="0" destOrd="0" presId="urn:microsoft.com/office/officeart/2008/layout/HorizontalMultiLevelHierarchy"/>
    <dgm:cxn modelId="{93B4F505-4D2F-744F-A132-B08785A5F3D2}" type="presParOf" srcId="{76889E03-95A4-234A-BE0C-87E6CEF02D37}" destId="{FB25556A-79E0-D042-8EE4-421CC8CFEFD5}" srcOrd="1" destOrd="0" presId="urn:microsoft.com/office/officeart/2008/layout/HorizontalMultiLevelHierarchy"/>
    <dgm:cxn modelId="{859D676F-FA77-AD48-BD68-6B1BEBF0F37D}" type="presParOf" srcId="{27C85358-980A-884D-9DDA-63018758070E}" destId="{2242491C-75CB-654B-ABCA-74AF8E25B4E8}" srcOrd="2" destOrd="0" presId="urn:microsoft.com/office/officeart/2008/layout/HorizontalMultiLevelHierarchy"/>
    <dgm:cxn modelId="{F00074D0-F3EA-B44D-A074-D83646D28CE2}" type="presParOf" srcId="{2242491C-75CB-654B-ABCA-74AF8E25B4E8}" destId="{62990B64-CF79-7146-BF7B-48A759C6E310}" srcOrd="0" destOrd="0" presId="urn:microsoft.com/office/officeart/2008/layout/HorizontalMultiLevelHierarchy"/>
    <dgm:cxn modelId="{1D1AF11E-1214-654F-A17C-EEE0F29AFB96}" type="presParOf" srcId="{27C85358-980A-884D-9DDA-63018758070E}" destId="{34BC8C0B-A669-9B42-82AD-78E158ADEE5B}" srcOrd="3" destOrd="0" presId="urn:microsoft.com/office/officeart/2008/layout/HorizontalMultiLevelHierarchy"/>
    <dgm:cxn modelId="{D9510A45-42DB-2742-B428-B4569CD59E1E}" type="presParOf" srcId="{34BC8C0B-A669-9B42-82AD-78E158ADEE5B}" destId="{84732D04-01E1-2742-A082-1195BCDCDEC2}" srcOrd="0" destOrd="0" presId="urn:microsoft.com/office/officeart/2008/layout/HorizontalMultiLevelHierarchy"/>
    <dgm:cxn modelId="{B7C1DDA9-EA12-9F4A-B337-40CD6DEC4DD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DCB6946-EFD5-F648-B906-0418856EEE21}" type="presOf" srcId="{6577C284-4D20-2C4A-88D4-29EB6FEAC9C2}" destId="{348A166D-A55E-9147-99A1-FB87A4CF61A8}" srcOrd="1" destOrd="0" presId="urn:microsoft.com/office/officeart/2008/layout/HorizontalMultiLevelHierarchy"/>
    <dgm:cxn modelId="{2E233E48-7C6E-0447-99A0-8113EEA1F54E}" type="presOf" srcId="{26144DC7-9794-3E4B-BF8F-331E25884D5F}" destId="{921A596F-4B37-494E-B07C-17FD734C6406}" srcOrd="0" destOrd="0" presId="urn:microsoft.com/office/officeart/2008/layout/HorizontalMultiLevelHierarchy"/>
    <dgm:cxn modelId="{17920565-4F3C-BC49-A960-7A6A376D1965}" type="presOf" srcId="{75291F63-6D2A-BA4D-9808-5F545EE4CCF0}" destId="{9FB8B136-71A7-D34F-B7EB-BD8FC5C96ECE}" srcOrd="0" destOrd="0" presId="urn:microsoft.com/office/officeart/2008/layout/HorizontalMultiLevelHierarchy"/>
    <dgm:cxn modelId="{C19A9F09-E8A5-104E-AED6-B5B87B996876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C1FF4830-652A-664F-8534-6A51764DD402}" type="presOf" srcId="{436C1B23-A07F-9344-ADAB-98173723FB7F}" destId="{B541F6A1-B2AA-7447-8E11-AC7AA5D5D50B}" srcOrd="0" destOrd="0" presId="urn:microsoft.com/office/officeart/2008/layout/HorizontalMultiLevelHierarchy"/>
    <dgm:cxn modelId="{DD1012A6-3682-2545-B6B2-69BD08B54821}" type="presOf" srcId="{859769CA-042B-6244-840F-75AE1403619A}" destId="{4E546A01-1907-BB4F-B534-4E81DE6081F4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066987F1-A164-E145-9102-5C8927113446}" type="presOf" srcId="{0726F871-37F4-AB40-AF73-6656D7E9C85D}" destId="{613226CB-11A4-C549-82A6-64B9BCFE1002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B83CC260-980C-FD45-8C82-F502C982BF6E}" type="presOf" srcId="{5E2A7D5A-EFB6-9C4F-A960-3D6903C39497}" destId="{E59B7B1E-3287-FB43-A405-2A84667315EC}" srcOrd="1" destOrd="0" presId="urn:microsoft.com/office/officeart/2008/layout/HorizontalMultiLevelHierarchy"/>
    <dgm:cxn modelId="{761AED95-084D-5F48-9D25-51D68CC2F4BE}" type="presOf" srcId="{8BC59F7D-94BF-3B43-BF5D-5485F4809DAD}" destId="{756F0DD8-11FC-8647-8FC8-7AAB634C5717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D4605E7A-7B79-C341-9475-E1CE1B18B8A7}" type="presOf" srcId="{9EB1846C-ABB5-9E44-B030-7BE73C498E59}" destId="{60914178-E972-6747-98A5-9B1042D21399}" srcOrd="0" destOrd="0" presId="urn:microsoft.com/office/officeart/2008/layout/HorizontalMultiLevelHierarchy"/>
    <dgm:cxn modelId="{29E40904-099F-194C-AE28-6B03BC61AD38}" type="presOf" srcId="{6577C284-4D20-2C4A-88D4-29EB6FEAC9C2}" destId="{A3F719CD-4C36-CF49-B90F-B8B40A2B29D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9347A7F-DACA-C84B-87BA-624C7DBFE658}" type="presOf" srcId="{EF2BFDE9-4D1F-3049-B62C-65BE59459C50}" destId="{5167760A-1265-4C43-B02A-4A72B3B39F5E}" srcOrd="0" destOrd="0" presId="urn:microsoft.com/office/officeart/2008/layout/HorizontalMultiLevelHierarchy"/>
    <dgm:cxn modelId="{0A157030-8F51-F44E-A37F-CEAD1EE7AF38}" type="presOf" srcId="{BBD19103-9913-2A49-AB85-F021773D5328}" destId="{6FA82A28-C585-714B-9AF5-DA995FB3DF53}" srcOrd="1" destOrd="0" presId="urn:microsoft.com/office/officeart/2008/layout/HorizontalMultiLevelHierarchy"/>
    <dgm:cxn modelId="{71CA6952-647C-F34A-8EA5-03635D0596E7}" type="presOf" srcId="{134C8002-4160-B046-917F-B9172D6D011E}" destId="{33DDFCA5-CC66-CC45-A430-EDF4DA53BA93}" srcOrd="0" destOrd="0" presId="urn:microsoft.com/office/officeart/2008/layout/HorizontalMultiLevelHierarchy"/>
    <dgm:cxn modelId="{5D6A47C1-1B46-D64A-B2F1-30B88EA5FEF8}" type="presOf" srcId="{BBD19103-9913-2A49-AB85-F021773D5328}" destId="{64F502CF-3E90-0B4E-886C-91AB3F51938D}" srcOrd="0" destOrd="0" presId="urn:microsoft.com/office/officeart/2008/layout/HorizontalMultiLevelHierarchy"/>
    <dgm:cxn modelId="{94B50EDB-B6B2-7049-A9C7-51C505C092F3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6008EBE1-BB11-4F47-AB2A-2F043DCBE38E}" type="presOf" srcId="{436C1B23-A07F-9344-ADAB-98173723FB7F}" destId="{0637CC4E-4D30-724B-9FFD-C7AED88FB068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2C8B945C-164C-314C-8637-813014866E47}" type="presOf" srcId="{8BC59F7D-94BF-3B43-BF5D-5485F4809DAD}" destId="{6D977B4C-E88D-6044-A647-A6CC29747BE1}" srcOrd="0" destOrd="0" presId="urn:microsoft.com/office/officeart/2008/layout/HorizontalMultiLevelHierarchy"/>
    <dgm:cxn modelId="{A94DA3AF-C477-3645-B686-6C6ABACC5719}" type="presOf" srcId="{488E1B12-EE7C-9246-8169-00D4E05307C4}" destId="{5E781A07-1968-A143-88EC-827822313B55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8F51BDD-7CB2-AE49-A996-4994B3E10220}" type="presOf" srcId="{990267CF-EA89-A240-9514-9AFC12BBADEE}" destId="{03DEAF18-EC72-C047-A9B4-C65BE189F02C}" srcOrd="0" destOrd="0" presId="urn:microsoft.com/office/officeart/2008/layout/HorizontalMultiLevelHierarchy"/>
    <dgm:cxn modelId="{7904B11E-BD42-0B4C-A00C-5F0AA1DCFFC4}" type="presOf" srcId="{5E2A7D5A-EFB6-9C4F-A960-3D6903C39497}" destId="{1442578F-E924-E34F-9FA5-3F4C2CF65BC9}" srcOrd="0" destOrd="0" presId="urn:microsoft.com/office/officeart/2008/layout/HorizontalMultiLevelHierarchy"/>
    <dgm:cxn modelId="{B206F399-6BB0-924B-B36E-D6B7DE9DDAF3}" type="presOf" srcId="{134C8002-4160-B046-917F-B9172D6D011E}" destId="{569810E7-365A-FB48-A979-23DA3465EF4F}" srcOrd="1" destOrd="0" presId="urn:microsoft.com/office/officeart/2008/layout/HorizontalMultiLevelHierarchy"/>
    <dgm:cxn modelId="{C5EDCC62-69C8-D14F-B845-47CE8DC52C21}" type="presOf" srcId="{9EB1846C-ABB5-9E44-B030-7BE73C498E59}" destId="{03FF4E40-A0E8-E040-A52F-D68379DCC349}" srcOrd="1" destOrd="0" presId="urn:microsoft.com/office/officeart/2008/layout/HorizontalMultiLevelHierarchy"/>
    <dgm:cxn modelId="{69C7CA4C-63A4-1E4B-92AA-7F17264351A7}" type="presOf" srcId="{C0976C3D-B466-7D45-ABFB-2E3685B2F19C}" destId="{D35EA19E-870C-2F44-A620-E6B51FB20589}" srcOrd="0" destOrd="0" presId="urn:microsoft.com/office/officeart/2008/layout/HorizontalMultiLevelHierarchy"/>
    <dgm:cxn modelId="{C19BFA34-CC31-3B46-8953-ECC8DFE150F0}" type="presOf" srcId="{E543121D-95F7-3E47-B964-B7B948211EBC}" destId="{2C1F9B08-4495-8146-8974-2654E99B2E9A}" srcOrd="0" destOrd="0" presId="urn:microsoft.com/office/officeart/2008/layout/HorizontalMultiLevelHierarchy"/>
    <dgm:cxn modelId="{19F95EB8-EAED-0D45-A425-0BDE9E1D729B}" type="presOf" srcId="{08733529-A5F0-F14D-8E75-74214329B040}" destId="{393A7F55-569D-7A48-ACE0-063418018375}" srcOrd="0" destOrd="0" presId="urn:microsoft.com/office/officeart/2008/layout/HorizontalMultiLevelHierarchy"/>
    <dgm:cxn modelId="{AA071AA4-7DBC-7342-87D9-D2324BCAC09F}" type="presOf" srcId="{B64CCDD1-81AB-5245-B99A-E87DB05674D4}" destId="{3C43B809-8F2F-3641-8339-1043D47661D7}" srcOrd="0" destOrd="0" presId="urn:microsoft.com/office/officeart/2008/layout/HorizontalMultiLevelHierarchy"/>
    <dgm:cxn modelId="{6A4D24B8-EE8E-114E-9EDA-2FB1FBF22B3F}" type="presOf" srcId="{174F7A28-653D-6F45-9860-935E35504EE1}" destId="{4D444EFA-484D-8B49-B53F-73AE5DAC83CB}" srcOrd="0" destOrd="0" presId="urn:microsoft.com/office/officeart/2008/layout/HorizontalMultiLevelHierarchy"/>
    <dgm:cxn modelId="{B9DDCEBD-DB92-5E4C-BDB1-1053A8DEC03C}" type="presOf" srcId="{5ADEDBF8-717E-F946-B11E-4CC50D9988C8}" destId="{AB33012A-8C54-6245-96E8-E0111C081E33}" srcOrd="1" destOrd="0" presId="urn:microsoft.com/office/officeart/2008/layout/HorizontalMultiLevelHierarchy"/>
    <dgm:cxn modelId="{21938D7D-0A32-9245-8E3C-663BA3752C2F}" type="presOf" srcId="{63D1AE09-4F57-A443-A1FD-2A3034962097}" destId="{04D949B2-6FA5-4948-B335-DDA85E4E65B1}" srcOrd="1" destOrd="0" presId="urn:microsoft.com/office/officeart/2008/layout/HorizontalMultiLevelHierarchy"/>
    <dgm:cxn modelId="{765A68A8-8B9B-9144-8436-2C45DBBBCD47}" type="presOf" srcId="{C24B2AD7-9651-4B45-A8F4-0314EA8D4874}" destId="{8AD8F429-D3CB-F748-A62E-81D3E0DD1FE1}" srcOrd="0" destOrd="0" presId="urn:microsoft.com/office/officeart/2008/layout/HorizontalMultiLevelHierarchy"/>
    <dgm:cxn modelId="{B891AB9C-4A56-6149-B7D6-5069C7F39A1D}" type="presOf" srcId="{5ADEDBF8-717E-F946-B11E-4CC50D9988C8}" destId="{D778007E-9974-2C41-910F-E1E5562B090A}" srcOrd="0" destOrd="0" presId="urn:microsoft.com/office/officeart/2008/layout/HorizontalMultiLevelHierarchy"/>
    <dgm:cxn modelId="{FD1BE076-7CE2-6E40-9B79-5700AE37FA14}" type="presOf" srcId="{78A64519-4827-364C-A275-D5C68A949ADD}" destId="{33CE7315-72E8-4545-9EC6-56F4D0BEC64D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377875DA-7335-3A46-BCCE-EE59AB29C1F7}" type="presOf" srcId="{BA9C693C-1CF5-6E4E-A8C4-1E304AFD6DF5}" destId="{99E936FD-8649-9640-96D2-9202E1CEC417}" srcOrd="0" destOrd="0" presId="urn:microsoft.com/office/officeart/2008/layout/HorizontalMultiLevelHierarchy"/>
    <dgm:cxn modelId="{C1CC5E3D-ACBA-9843-A291-EF8AAB614FEB}" type="presOf" srcId="{C24B2AD7-9651-4B45-A8F4-0314EA8D4874}" destId="{27DD3461-0240-774A-8774-CC1A00541B61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8C4E7741-58AB-0D44-BFD9-39DED090C5A5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6BA9738D-79E4-BF47-B229-8CBA75AD9687}" type="presOf" srcId="{7E0C02E8-17C2-874D-B6DE-8E3A1D3437C9}" destId="{448042B3-2CED-424C-815C-8FD3B3AD8A3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D1195B6C-F881-0C4B-9709-91F52ADF1A01}" type="presOf" srcId="{B8771036-12B2-D843-AA17-BB631BA3F87D}" destId="{F9B786D6-8B73-AC47-BEA7-3780A17C3E39}" srcOrd="0" destOrd="0" presId="urn:microsoft.com/office/officeart/2008/layout/HorizontalMultiLevelHierarchy"/>
    <dgm:cxn modelId="{2D497A5D-DE4D-864C-B09D-82B7D004D939}" type="presParOf" srcId="{613226CB-11A4-C549-82A6-64B9BCFE1002}" destId="{3BA40406-1E55-1642-A22A-B49F5A173AC8}" srcOrd="0" destOrd="0" presId="urn:microsoft.com/office/officeart/2008/layout/HorizontalMultiLevelHierarchy"/>
    <dgm:cxn modelId="{9B789889-6547-784A-80F6-3E3029009F9B}" type="presParOf" srcId="{3BA40406-1E55-1642-A22A-B49F5A173AC8}" destId="{99E936FD-8649-9640-96D2-9202E1CEC417}" srcOrd="0" destOrd="0" presId="urn:microsoft.com/office/officeart/2008/layout/HorizontalMultiLevelHierarchy"/>
    <dgm:cxn modelId="{37A09767-B958-CD45-AFA2-4C409C4127AE}" type="presParOf" srcId="{3BA40406-1E55-1642-A22A-B49F5A173AC8}" destId="{598DBB90-9C26-4C4B-AC1C-FF1827BF8D97}" srcOrd="1" destOrd="0" presId="urn:microsoft.com/office/officeart/2008/layout/HorizontalMultiLevelHierarchy"/>
    <dgm:cxn modelId="{3F1F7EB5-63EA-4B4F-9265-972D60FAD7FC}" type="presParOf" srcId="{598DBB90-9C26-4C4B-AC1C-FF1827BF8D97}" destId="{D778007E-9974-2C41-910F-E1E5562B090A}" srcOrd="0" destOrd="0" presId="urn:microsoft.com/office/officeart/2008/layout/HorizontalMultiLevelHierarchy"/>
    <dgm:cxn modelId="{CC17E591-C897-6D45-8692-9634B6298AD0}" type="presParOf" srcId="{D778007E-9974-2C41-910F-E1E5562B090A}" destId="{AB33012A-8C54-6245-96E8-E0111C081E33}" srcOrd="0" destOrd="0" presId="urn:microsoft.com/office/officeart/2008/layout/HorizontalMultiLevelHierarchy"/>
    <dgm:cxn modelId="{C5FB27DF-932B-EB4A-AE96-5F4F173C3D90}" type="presParOf" srcId="{598DBB90-9C26-4C4B-AC1C-FF1827BF8D97}" destId="{BCA6FE17-8DB6-0242-A6E4-C7D3971EBD97}" srcOrd="1" destOrd="0" presId="urn:microsoft.com/office/officeart/2008/layout/HorizontalMultiLevelHierarchy"/>
    <dgm:cxn modelId="{924C4042-0B77-2A45-B482-2474D9C8EB17}" type="presParOf" srcId="{BCA6FE17-8DB6-0242-A6E4-C7D3971EBD97}" destId="{5E781A07-1968-A143-88EC-827822313B55}" srcOrd="0" destOrd="0" presId="urn:microsoft.com/office/officeart/2008/layout/HorizontalMultiLevelHierarchy"/>
    <dgm:cxn modelId="{2B50C0B3-D1D0-EB4D-A1F3-3BC52E84FD9A}" type="presParOf" srcId="{BCA6FE17-8DB6-0242-A6E4-C7D3971EBD97}" destId="{BDDED42C-20CE-EF4E-85AA-7830E9428B23}" srcOrd="1" destOrd="0" presId="urn:microsoft.com/office/officeart/2008/layout/HorizontalMultiLevelHierarchy"/>
    <dgm:cxn modelId="{5D90FB02-880E-6E43-B3B3-68EC27DF4FDA}" type="presParOf" srcId="{598DBB90-9C26-4C4B-AC1C-FF1827BF8D97}" destId="{B7A5E06F-5B4B-C947-BFA6-C1FA5998CE54}" srcOrd="2" destOrd="0" presId="urn:microsoft.com/office/officeart/2008/layout/HorizontalMultiLevelHierarchy"/>
    <dgm:cxn modelId="{635CB754-DBF0-3847-B668-7637CBEDD8B8}" type="presParOf" srcId="{B7A5E06F-5B4B-C947-BFA6-C1FA5998CE54}" destId="{04D949B2-6FA5-4948-B335-DDA85E4E65B1}" srcOrd="0" destOrd="0" presId="urn:microsoft.com/office/officeart/2008/layout/HorizontalMultiLevelHierarchy"/>
    <dgm:cxn modelId="{F5DA07F0-FE3D-8D42-8600-E9824A869736}" type="presParOf" srcId="{598DBB90-9C26-4C4B-AC1C-FF1827BF8D97}" destId="{5B0B9041-BDB4-7141-9957-0BEAFB33AEFE}" srcOrd="3" destOrd="0" presId="urn:microsoft.com/office/officeart/2008/layout/HorizontalMultiLevelHierarchy"/>
    <dgm:cxn modelId="{FE5E2FE7-9AA2-7F48-910D-9C9E13A4BF0F}" type="presParOf" srcId="{5B0B9041-BDB4-7141-9957-0BEAFB33AEFE}" destId="{D35EA19E-870C-2F44-A620-E6B51FB20589}" srcOrd="0" destOrd="0" presId="urn:microsoft.com/office/officeart/2008/layout/HorizontalMultiLevelHierarchy"/>
    <dgm:cxn modelId="{E56205AA-3460-894B-8C5D-EBBC204F6EB8}" type="presParOf" srcId="{5B0B9041-BDB4-7141-9957-0BEAFB33AEFE}" destId="{62348515-9687-1045-ADA1-3184EC8CEC61}" srcOrd="1" destOrd="0" presId="urn:microsoft.com/office/officeart/2008/layout/HorizontalMultiLevelHierarchy"/>
    <dgm:cxn modelId="{1DEBA846-EB9B-EF4F-89D9-C3FC9021056A}" type="presParOf" srcId="{62348515-9687-1045-ADA1-3184EC8CEC61}" destId="{B541F6A1-B2AA-7447-8E11-AC7AA5D5D50B}" srcOrd="0" destOrd="0" presId="urn:microsoft.com/office/officeart/2008/layout/HorizontalMultiLevelHierarchy"/>
    <dgm:cxn modelId="{1B902402-ED24-D143-98F4-B2C27094BE8A}" type="presParOf" srcId="{B541F6A1-B2AA-7447-8E11-AC7AA5D5D50B}" destId="{0637CC4E-4D30-724B-9FFD-C7AED88FB068}" srcOrd="0" destOrd="0" presId="urn:microsoft.com/office/officeart/2008/layout/HorizontalMultiLevelHierarchy"/>
    <dgm:cxn modelId="{2C840CF0-3631-6244-9A94-943961DD3861}" type="presParOf" srcId="{62348515-9687-1045-ADA1-3184EC8CEC61}" destId="{CA3C244E-E149-0742-ACEF-44B7ECE83631}" srcOrd="1" destOrd="0" presId="urn:microsoft.com/office/officeart/2008/layout/HorizontalMultiLevelHierarchy"/>
    <dgm:cxn modelId="{5B2C134F-D622-3B4C-8A50-6C6660C78F62}" type="presParOf" srcId="{CA3C244E-E149-0742-ACEF-44B7ECE83631}" destId="{9FB8B136-71A7-D34F-B7EB-BD8FC5C96ECE}" srcOrd="0" destOrd="0" presId="urn:microsoft.com/office/officeart/2008/layout/HorizontalMultiLevelHierarchy"/>
    <dgm:cxn modelId="{58EA28A1-BB23-E44D-B55B-BA6443F41951}" type="presParOf" srcId="{CA3C244E-E149-0742-ACEF-44B7ECE83631}" destId="{9B46DB51-FCC5-AC41-BECD-E28037B564D0}" srcOrd="1" destOrd="0" presId="urn:microsoft.com/office/officeart/2008/layout/HorizontalMultiLevelHierarchy"/>
    <dgm:cxn modelId="{37676EFF-565A-4745-8B7E-34A9DF5648E8}" type="presParOf" srcId="{62348515-9687-1045-ADA1-3184EC8CEC61}" destId="{2C1F9B08-4495-8146-8974-2654E99B2E9A}" srcOrd="2" destOrd="0" presId="urn:microsoft.com/office/officeart/2008/layout/HorizontalMultiLevelHierarchy"/>
    <dgm:cxn modelId="{CDA003E5-E6DD-AE4A-98EE-3BBA93D0331A}" type="presParOf" srcId="{2C1F9B08-4495-8146-8974-2654E99B2E9A}" destId="{C9D429FE-9539-9D4A-9750-F9C781598EC4}" srcOrd="0" destOrd="0" presId="urn:microsoft.com/office/officeart/2008/layout/HorizontalMultiLevelHierarchy"/>
    <dgm:cxn modelId="{364E2A6F-E21E-3A43-8EC6-2C81BA2EF3BE}" type="presParOf" srcId="{62348515-9687-1045-ADA1-3184EC8CEC61}" destId="{7F107BC0-209A-4C42-BEA6-B6817D5C9E09}" srcOrd="3" destOrd="0" presId="urn:microsoft.com/office/officeart/2008/layout/HorizontalMultiLevelHierarchy"/>
    <dgm:cxn modelId="{C746AB92-6498-AB43-A4CA-2F3A65ED59DD}" type="presParOf" srcId="{7F107BC0-209A-4C42-BEA6-B6817D5C9E09}" destId="{4E546A01-1907-BB4F-B534-4E81DE6081F4}" srcOrd="0" destOrd="0" presId="urn:microsoft.com/office/officeart/2008/layout/HorizontalMultiLevelHierarchy"/>
    <dgm:cxn modelId="{5DB81EB4-4C8F-C846-84FD-5448FD347392}" type="presParOf" srcId="{7F107BC0-209A-4C42-BEA6-B6817D5C9E09}" destId="{F5393339-32D0-CE4B-9AAA-4B6A114FA39A}" srcOrd="1" destOrd="0" presId="urn:microsoft.com/office/officeart/2008/layout/HorizontalMultiLevelHierarchy"/>
    <dgm:cxn modelId="{EE877775-DB80-A34E-A4FD-1EC9FED1790F}" type="presParOf" srcId="{62348515-9687-1045-ADA1-3184EC8CEC61}" destId="{6D977B4C-E88D-6044-A647-A6CC29747BE1}" srcOrd="4" destOrd="0" presId="urn:microsoft.com/office/officeart/2008/layout/HorizontalMultiLevelHierarchy"/>
    <dgm:cxn modelId="{A4FB1479-FAD1-F044-A7EE-449A50D25947}" type="presParOf" srcId="{6D977B4C-E88D-6044-A647-A6CC29747BE1}" destId="{756F0DD8-11FC-8647-8FC8-7AAB634C5717}" srcOrd="0" destOrd="0" presId="urn:microsoft.com/office/officeart/2008/layout/HorizontalMultiLevelHierarchy"/>
    <dgm:cxn modelId="{1F0CD8C6-9A17-6B4D-B9E0-A3CECAA6A591}" type="presParOf" srcId="{62348515-9687-1045-ADA1-3184EC8CEC61}" destId="{BAA197B9-40F5-1D46-A384-973DDEA5160C}" srcOrd="5" destOrd="0" presId="urn:microsoft.com/office/officeart/2008/layout/HorizontalMultiLevelHierarchy"/>
    <dgm:cxn modelId="{2D42C164-7609-0B4F-80EA-535BD38A407E}" type="presParOf" srcId="{BAA197B9-40F5-1D46-A384-973DDEA5160C}" destId="{3C43B809-8F2F-3641-8339-1043D47661D7}" srcOrd="0" destOrd="0" presId="urn:microsoft.com/office/officeart/2008/layout/HorizontalMultiLevelHierarchy"/>
    <dgm:cxn modelId="{35F8C653-3DFF-6A45-A0F1-3DEB0EC104A2}" type="presParOf" srcId="{BAA197B9-40F5-1D46-A384-973DDEA5160C}" destId="{F59926D0-D2AF-8940-B86B-A1820706A34B}" srcOrd="1" destOrd="0" presId="urn:microsoft.com/office/officeart/2008/layout/HorizontalMultiLevelHierarchy"/>
    <dgm:cxn modelId="{43FEA84F-06E0-B04A-9C1B-9B6E52F513B9}" type="presParOf" srcId="{598DBB90-9C26-4C4B-AC1C-FF1827BF8D97}" destId="{1442578F-E924-E34F-9FA5-3F4C2CF65BC9}" srcOrd="4" destOrd="0" presId="urn:microsoft.com/office/officeart/2008/layout/HorizontalMultiLevelHierarchy"/>
    <dgm:cxn modelId="{85B43FBD-F65F-1D44-929E-B49BD79A15C1}" type="presParOf" srcId="{1442578F-E924-E34F-9FA5-3F4C2CF65BC9}" destId="{E59B7B1E-3287-FB43-A405-2A84667315EC}" srcOrd="0" destOrd="0" presId="urn:microsoft.com/office/officeart/2008/layout/HorizontalMultiLevelHierarchy"/>
    <dgm:cxn modelId="{5A4CC0D3-D89C-924E-8B5A-C2FC59B5B2E6}" type="presParOf" srcId="{598DBB90-9C26-4C4B-AC1C-FF1827BF8D97}" destId="{6188AF91-8F5E-7F4E-A0A2-13FA32167F53}" srcOrd="5" destOrd="0" presId="urn:microsoft.com/office/officeart/2008/layout/HorizontalMultiLevelHierarchy"/>
    <dgm:cxn modelId="{2B3E1722-D5D1-9A46-88EF-823688D04E39}" type="presParOf" srcId="{6188AF91-8F5E-7F4E-A0A2-13FA32167F53}" destId="{5167760A-1265-4C43-B02A-4A72B3B39F5E}" srcOrd="0" destOrd="0" presId="urn:microsoft.com/office/officeart/2008/layout/HorizontalMultiLevelHierarchy"/>
    <dgm:cxn modelId="{F47E5D1A-A058-E84C-8F7B-343E7084E031}" type="presParOf" srcId="{6188AF91-8F5E-7F4E-A0A2-13FA32167F53}" destId="{21F2C295-F343-AC4A-8BE2-CFD4DAC170AE}" srcOrd="1" destOrd="0" presId="urn:microsoft.com/office/officeart/2008/layout/HorizontalMultiLevelHierarchy"/>
    <dgm:cxn modelId="{B61C742F-4145-9C4D-8EC7-9969D883F001}" type="presParOf" srcId="{598DBB90-9C26-4C4B-AC1C-FF1827BF8D97}" destId="{A3F719CD-4C36-CF49-B90F-B8B40A2B29DE}" srcOrd="6" destOrd="0" presId="urn:microsoft.com/office/officeart/2008/layout/HorizontalMultiLevelHierarchy"/>
    <dgm:cxn modelId="{854E12FD-875C-F347-87E2-4361DD6A9775}" type="presParOf" srcId="{A3F719CD-4C36-CF49-B90F-B8B40A2B29DE}" destId="{348A166D-A55E-9147-99A1-FB87A4CF61A8}" srcOrd="0" destOrd="0" presId="urn:microsoft.com/office/officeart/2008/layout/HorizontalMultiLevelHierarchy"/>
    <dgm:cxn modelId="{CC579FAA-3155-7E43-B08C-1B1B79A8CA26}" type="presParOf" srcId="{598DBB90-9C26-4C4B-AC1C-FF1827BF8D97}" destId="{175E4F2C-D898-EE44-A4E7-79846E237DB4}" srcOrd="7" destOrd="0" presId="urn:microsoft.com/office/officeart/2008/layout/HorizontalMultiLevelHierarchy"/>
    <dgm:cxn modelId="{B502CEA3-02C9-AF46-A297-F6139CB5908F}" type="presParOf" srcId="{175E4F2C-D898-EE44-A4E7-79846E237DB4}" destId="{921A596F-4B37-494E-B07C-17FD734C6406}" srcOrd="0" destOrd="0" presId="urn:microsoft.com/office/officeart/2008/layout/HorizontalMultiLevelHierarchy"/>
    <dgm:cxn modelId="{686EC8D7-6173-0E49-B853-30111EAF6F80}" type="presParOf" srcId="{175E4F2C-D898-EE44-A4E7-79846E237DB4}" destId="{A9D518F9-DAB2-4E45-9ECB-39AA13A01564}" srcOrd="1" destOrd="0" presId="urn:microsoft.com/office/officeart/2008/layout/HorizontalMultiLevelHierarchy"/>
    <dgm:cxn modelId="{FF71EC4E-6701-9446-9B5F-5449E04C0203}" type="presParOf" srcId="{A9D518F9-DAB2-4E45-9ECB-39AA13A01564}" destId="{8AD8F429-D3CB-F748-A62E-81D3E0DD1FE1}" srcOrd="0" destOrd="0" presId="urn:microsoft.com/office/officeart/2008/layout/HorizontalMultiLevelHierarchy"/>
    <dgm:cxn modelId="{3A54D75D-85F0-204F-A78D-1E3A9C00CAF8}" type="presParOf" srcId="{8AD8F429-D3CB-F748-A62E-81D3E0DD1FE1}" destId="{27DD3461-0240-774A-8774-CC1A00541B61}" srcOrd="0" destOrd="0" presId="urn:microsoft.com/office/officeart/2008/layout/HorizontalMultiLevelHierarchy"/>
    <dgm:cxn modelId="{D0563CE6-FE4B-BE43-B47A-A1110A78D6D4}" type="presParOf" srcId="{A9D518F9-DAB2-4E45-9ECB-39AA13A01564}" destId="{11FBA7F4-3D95-3448-9648-3CEA03AB03A5}" srcOrd="1" destOrd="0" presId="urn:microsoft.com/office/officeart/2008/layout/HorizontalMultiLevelHierarchy"/>
    <dgm:cxn modelId="{2FCCEE5F-56D9-3340-9F1F-784D0A59D66D}" type="presParOf" srcId="{11FBA7F4-3D95-3448-9648-3CEA03AB03A5}" destId="{33CE7315-72E8-4545-9EC6-56F4D0BEC64D}" srcOrd="0" destOrd="0" presId="urn:microsoft.com/office/officeart/2008/layout/HorizontalMultiLevelHierarchy"/>
    <dgm:cxn modelId="{89A7954D-AD7B-1746-9BDA-068CBEE9491C}" type="presParOf" srcId="{11FBA7F4-3D95-3448-9648-3CEA03AB03A5}" destId="{F94ACA84-3A4A-0541-929E-9401CD7FB410}" srcOrd="1" destOrd="0" presId="urn:microsoft.com/office/officeart/2008/layout/HorizontalMultiLevelHierarchy"/>
    <dgm:cxn modelId="{7809CAD0-B3E1-114A-8BA4-662F37287765}" type="presParOf" srcId="{598DBB90-9C26-4C4B-AC1C-FF1827BF8D97}" destId="{33DDFCA5-CC66-CC45-A430-EDF4DA53BA93}" srcOrd="8" destOrd="0" presId="urn:microsoft.com/office/officeart/2008/layout/HorizontalMultiLevelHierarchy"/>
    <dgm:cxn modelId="{75E100C1-F7F2-224D-9707-8AF0BBAB9045}" type="presParOf" srcId="{33DDFCA5-CC66-CC45-A430-EDF4DA53BA93}" destId="{569810E7-365A-FB48-A979-23DA3465EF4F}" srcOrd="0" destOrd="0" presId="urn:microsoft.com/office/officeart/2008/layout/HorizontalMultiLevelHierarchy"/>
    <dgm:cxn modelId="{DD9A3A25-E763-5242-9596-3BEBFE1D62BA}" type="presParOf" srcId="{598DBB90-9C26-4C4B-AC1C-FF1827BF8D97}" destId="{299D8B01-3ECB-7743-BE59-35C50BD6249A}" srcOrd="9" destOrd="0" presId="urn:microsoft.com/office/officeart/2008/layout/HorizontalMultiLevelHierarchy"/>
    <dgm:cxn modelId="{78841875-E9CC-F247-A07D-4FCBD29D5005}" type="presParOf" srcId="{299D8B01-3ECB-7743-BE59-35C50BD6249A}" destId="{03DEAF18-EC72-C047-A9B4-C65BE189F02C}" srcOrd="0" destOrd="0" presId="urn:microsoft.com/office/officeart/2008/layout/HorizontalMultiLevelHierarchy"/>
    <dgm:cxn modelId="{F0907F2F-5D07-8340-A9ED-9DB5E8A20DFA}" type="presParOf" srcId="{299D8B01-3ECB-7743-BE59-35C50BD6249A}" destId="{322C5A5A-9E25-6047-BB00-4DF750E135CE}" srcOrd="1" destOrd="0" presId="urn:microsoft.com/office/officeart/2008/layout/HorizontalMultiLevelHierarchy"/>
    <dgm:cxn modelId="{5C7DEF6D-0948-5D43-9409-137E58EE90BB}" type="presParOf" srcId="{322C5A5A-9E25-6047-BB00-4DF750E135CE}" destId="{393A7F55-569D-7A48-ACE0-063418018375}" srcOrd="0" destOrd="0" presId="urn:microsoft.com/office/officeart/2008/layout/HorizontalMultiLevelHierarchy"/>
    <dgm:cxn modelId="{95BD6C5A-EE59-8645-9039-3C6E6E63B53B}" type="presParOf" srcId="{393A7F55-569D-7A48-ACE0-063418018375}" destId="{A635BF91-C219-EB46-A0CA-F8A2CE3D7BF3}" srcOrd="0" destOrd="0" presId="urn:microsoft.com/office/officeart/2008/layout/HorizontalMultiLevelHierarchy"/>
    <dgm:cxn modelId="{FF083572-8D9B-B847-976E-62CC56F910D1}" type="presParOf" srcId="{322C5A5A-9E25-6047-BB00-4DF750E135CE}" destId="{55918953-A6CF-814A-89F9-551623EBC010}" srcOrd="1" destOrd="0" presId="urn:microsoft.com/office/officeart/2008/layout/HorizontalMultiLevelHierarchy"/>
    <dgm:cxn modelId="{8567FD8A-86E9-FF43-8CEA-16405C5F86FA}" type="presParOf" srcId="{55918953-A6CF-814A-89F9-551623EBC010}" destId="{448042B3-2CED-424C-815C-8FD3B3AD8A39}" srcOrd="0" destOrd="0" presId="urn:microsoft.com/office/officeart/2008/layout/HorizontalMultiLevelHierarchy"/>
    <dgm:cxn modelId="{A707380B-8601-CE48-93A8-52A821060A6E}" type="presParOf" srcId="{55918953-A6CF-814A-89F9-551623EBC010}" destId="{4C59A0B4-1525-104C-AAB2-E79163983336}" srcOrd="1" destOrd="0" presId="urn:microsoft.com/office/officeart/2008/layout/HorizontalMultiLevelHierarchy"/>
    <dgm:cxn modelId="{A7DA4084-8677-F946-9344-6DABD5EB9B63}" type="presParOf" srcId="{322C5A5A-9E25-6047-BB00-4DF750E135CE}" destId="{64F502CF-3E90-0B4E-886C-91AB3F51938D}" srcOrd="2" destOrd="0" presId="urn:microsoft.com/office/officeart/2008/layout/HorizontalMultiLevelHierarchy"/>
    <dgm:cxn modelId="{5BD5B56B-1D4D-6D4D-8C4A-018B47D25EF5}" type="presParOf" srcId="{64F502CF-3E90-0B4E-886C-91AB3F51938D}" destId="{6FA82A28-C585-714B-9AF5-DA995FB3DF53}" srcOrd="0" destOrd="0" presId="urn:microsoft.com/office/officeart/2008/layout/HorizontalMultiLevelHierarchy"/>
    <dgm:cxn modelId="{D410E5A9-ABEB-1A46-BD2F-622A018ADDD7}" type="presParOf" srcId="{322C5A5A-9E25-6047-BB00-4DF750E135CE}" destId="{EC8B6A62-9FAE-5045-A1A4-029DC2356DF7}" srcOrd="3" destOrd="0" presId="urn:microsoft.com/office/officeart/2008/layout/HorizontalMultiLevelHierarchy"/>
    <dgm:cxn modelId="{21DBEAD6-EEF3-4748-B277-124812501E2D}" type="presParOf" srcId="{EC8B6A62-9FAE-5045-A1A4-029DC2356DF7}" destId="{F9B786D6-8B73-AC47-BEA7-3780A17C3E39}" srcOrd="0" destOrd="0" presId="urn:microsoft.com/office/officeart/2008/layout/HorizontalMultiLevelHierarchy"/>
    <dgm:cxn modelId="{823A1027-42A3-5844-BBAA-CEE8EFBA977F}" type="presParOf" srcId="{EC8B6A62-9FAE-5045-A1A4-029DC2356DF7}" destId="{6E27147E-0C63-E041-AB6B-5C0E60851726}" srcOrd="1" destOrd="0" presId="urn:microsoft.com/office/officeart/2008/layout/HorizontalMultiLevelHierarchy"/>
    <dgm:cxn modelId="{5065B7C5-505C-6E4C-A49A-548729D1E5EA}" type="presParOf" srcId="{598DBB90-9C26-4C4B-AC1C-FF1827BF8D97}" destId="{60914178-E972-6747-98A5-9B1042D21399}" srcOrd="10" destOrd="0" presId="urn:microsoft.com/office/officeart/2008/layout/HorizontalMultiLevelHierarchy"/>
    <dgm:cxn modelId="{FCBD65DE-C909-144C-8963-B603E3C04D0C}" type="presParOf" srcId="{60914178-E972-6747-98A5-9B1042D21399}" destId="{03FF4E40-A0E8-E040-A52F-D68379DCC349}" srcOrd="0" destOrd="0" presId="urn:microsoft.com/office/officeart/2008/layout/HorizontalMultiLevelHierarchy"/>
    <dgm:cxn modelId="{D3110B3A-7984-8E48-A49C-FAC58C3BBA30}" type="presParOf" srcId="{598DBB90-9C26-4C4B-AC1C-FF1827BF8D97}" destId="{82D22835-936A-1D4B-AF7A-2D86C6FB8621}" srcOrd="11" destOrd="0" presId="urn:microsoft.com/office/officeart/2008/layout/HorizontalMultiLevelHierarchy"/>
    <dgm:cxn modelId="{618BAFB4-491D-1944-AC1A-B590238D57E8}" type="presParOf" srcId="{82D22835-936A-1D4B-AF7A-2D86C6FB8621}" destId="{4D444EFA-484D-8B49-B53F-73AE5DAC83CB}" srcOrd="0" destOrd="0" presId="urn:microsoft.com/office/officeart/2008/layout/HorizontalMultiLevelHierarchy"/>
    <dgm:cxn modelId="{AA7B0196-A1CD-6947-996C-6D30A5023D2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D06961EF-4BB2-6548-904D-6997981FE779}" type="presOf" srcId="{B3C905E3-C669-9942-AEC9-21A47474CEB4}" destId="{DB79995B-B315-9C4C-BCA0-97AF2CF960CD}" srcOrd="1" destOrd="0" presId="urn:microsoft.com/office/officeart/2008/layout/HorizontalMultiLevelHierarchy"/>
    <dgm:cxn modelId="{B1D94ED5-B803-FE4C-812E-D7F1659A8171}" type="presOf" srcId="{6577C284-4D20-2C4A-88D4-29EB6FEAC9C2}" destId="{348A166D-A55E-9147-99A1-FB87A4CF61A8}" srcOrd="1" destOrd="0" presId="urn:microsoft.com/office/officeart/2008/layout/HorizontalMultiLevelHierarchy"/>
    <dgm:cxn modelId="{C1C3DA50-48CD-8F4E-A8BA-5D50E192CD4F}" type="presOf" srcId="{5ADEDBF8-717E-F946-B11E-4CC50D9988C8}" destId="{D778007E-9974-2C41-910F-E1E5562B090A}" srcOrd="0" destOrd="0" presId="urn:microsoft.com/office/officeart/2008/layout/HorizontalMultiLevelHierarchy"/>
    <dgm:cxn modelId="{736C2EA4-24A9-CA4E-92DF-C4FFDA281C9D}" type="presOf" srcId="{B4B50EEB-1538-DF45-B07F-7D0FD83C8ED3}" destId="{7C4C248C-9225-884B-A9F0-E626AEAE24C9}" srcOrd="1" destOrd="0" presId="urn:microsoft.com/office/officeart/2008/layout/HorizontalMultiLevelHierarchy"/>
    <dgm:cxn modelId="{0D6C0AF7-A233-C64E-BC21-F36DD27879F8}" type="presOf" srcId="{174F7A28-653D-6F45-9860-935E35504EE1}" destId="{4D444EFA-484D-8B49-B53F-73AE5DAC83CB}" srcOrd="0" destOrd="0" presId="urn:microsoft.com/office/officeart/2008/layout/HorizontalMultiLevelHierarchy"/>
    <dgm:cxn modelId="{00483AFB-74A1-3845-B27E-76AA5E7CEF69}" type="presOf" srcId="{5ADEDBF8-717E-F946-B11E-4CC50D9988C8}" destId="{AB33012A-8C54-6245-96E8-E0111C081E33}" srcOrd="1" destOrd="0" presId="urn:microsoft.com/office/officeart/2008/layout/HorizontalMultiLevelHierarchy"/>
    <dgm:cxn modelId="{5BCFB82A-5476-5A48-90BD-571952DF5220}" type="presOf" srcId="{26144DC7-9794-3E4B-BF8F-331E25884D5F}" destId="{921A596F-4B37-494E-B07C-17FD734C6406}" srcOrd="0" destOrd="0" presId="urn:microsoft.com/office/officeart/2008/layout/HorizontalMultiLevelHierarchy"/>
    <dgm:cxn modelId="{B9393B4E-44C4-3148-BD8C-4D568430F318}" type="presOf" srcId="{07A4D93E-7AFB-4E4D-8384-CFBE7085BD56}" destId="{42308E2A-E89A-524C-8598-CEBE02495F63}" srcOrd="0" destOrd="0" presId="urn:microsoft.com/office/officeart/2008/layout/HorizontalMultiLevelHierarchy"/>
    <dgm:cxn modelId="{B5B98EB6-C718-574D-9CF3-5ACF19904BEA}" type="presOf" srcId="{516F75D9-69F5-0544-995D-CFB72352B59F}" destId="{887F982A-9047-D440-AFAC-0FD9C008886A}" srcOrd="0" destOrd="0" presId="urn:microsoft.com/office/officeart/2008/layout/HorizontalMultiLevelHierarchy"/>
    <dgm:cxn modelId="{80A5A37E-8A46-5E40-BC7E-A5DE08BAAF43}" type="presOf" srcId="{80BD7623-DCEC-2448-AB85-7A6B177B6EBB}" destId="{73B69BAE-7567-8E4E-A9B2-D2862F6B978E}" srcOrd="0" destOrd="0" presId="urn:microsoft.com/office/officeart/2008/layout/HorizontalMultiLevelHierarchy"/>
    <dgm:cxn modelId="{861C42D3-DBF9-3540-ACBF-7C1C30625EB9}" type="presOf" srcId="{1333B56B-0FB7-DB46-BFA8-14BA9E09141B}" destId="{9E30CAA0-C8DA-7340-9AC5-F7AFBAE25743}" srcOrd="0" destOrd="0" presId="urn:microsoft.com/office/officeart/2008/layout/HorizontalMultiLevelHierarchy"/>
    <dgm:cxn modelId="{F540C837-0B5C-AB46-B481-24FB78228437}" type="presOf" srcId="{BA9C693C-1CF5-6E4E-A8C4-1E304AFD6DF5}" destId="{99E936FD-8649-9640-96D2-9202E1CEC417}" srcOrd="0" destOrd="0" presId="urn:microsoft.com/office/officeart/2008/layout/HorizontalMultiLevelHierarchy"/>
    <dgm:cxn modelId="{BB3117C0-D716-F744-A512-54EB50DD2D73}" type="presOf" srcId="{990267CF-EA89-A240-9514-9AFC12BBADEE}" destId="{03DEAF18-EC72-C047-A9B4-C65BE189F02C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4DB8DCBC-C706-3249-BA5E-2118C842BB1D}" type="presOf" srcId="{08733529-A5F0-F14D-8E75-74214329B040}" destId="{393A7F55-569D-7A48-ACE0-063418018375}" srcOrd="0" destOrd="0" presId="urn:microsoft.com/office/officeart/2008/layout/HorizontalMultiLevelHierarchy"/>
    <dgm:cxn modelId="{084C1E93-3FB6-3943-9B66-E194911F6236}" type="presOf" srcId="{6577C284-4D20-2C4A-88D4-29EB6FEAC9C2}" destId="{A3F719CD-4C36-CF49-B90F-B8B40A2B29DE}" srcOrd="0" destOrd="0" presId="urn:microsoft.com/office/officeart/2008/layout/HorizontalMultiLevelHierarchy"/>
    <dgm:cxn modelId="{AA4C6B70-D1D6-AE47-AD8F-A4E54EC81589}" type="presOf" srcId="{B3C905E3-C669-9942-AEC9-21A47474CEB4}" destId="{996189F3-00B3-7D49-A5FC-5430A26FB618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E5C5E6F1-E77E-1846-803C-54AE9C1F4CA9}" type="presOf" srcId="{90FBF026-5068-6043-A75B-344D047E346D}" destId="{62990B64-CF79-7146-BF7B-48A759C6E310}" srcOrd="1" destOrd="0" presId="urn:microsoft.com/office/officeart/2008/layout/HorizontalMultiLevelHierarchy"/>
    <dgm:cxn modelId="{B6171E46-5DA6-8540-B9D7-88E9EB5C10EA}" type="presOf" srcId="{9EB1846C-ABB5-9E44-B030-7BE73C498E59}" destId="{03FF4E40-A0E8-E040-A52F-D68379DCC349}" srcOrd="1" destOrd="0" presId="urn:microsoft.com/office/officeart/2008/layout/HorizontalMultiLevelHierarchy"/>
    <dgm:cxn modelId="{588E8DB6-C84D-3540-9FBC-951F43D01B5E}" type="presOf" srcId="{B8771036-12B2-D843-AA17-BB631BA3F87D}" destId="{F9B786D6-8B73-AC47-BEA7-3780A17C3E39}" srcOrd="0" destOrd="0" presId="urn:microsoft.com/office/officeart/2008/layout/HorizontalMultiLevelHierarchy"/>
    <dgm:cxn modelId="{7B7CBC75-1504-7745-B2CD-FBAEB88D3445}" type="presOf" srcId="{11D7D97A-F1CC-6A49-92BA-1094CF9B8EE3}" destId="{84732D04-01E1-2742-A082-1195BCDCDEC2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A7C6DA5-51F0-0E4B-9568-12DA7E7A4437}" type="presOf" srcId="{BBD19103-9913-2A49-AB85-F021773D5328}" destId="{6FA82A28-C585-714B-9AF5-DA995FB3DF53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BF50815-4951-794C-899C-9BF22CD5F18B}" type="presOf" srcId="{BBD19103-9913-2A49-AB85-F021773D5328}" destId="{64F502CF-3E90-0B4E-886C-91AB3F51938D}" srcOrd="0" destOrd="0" presId="urn:microsoft.com/office/officeart/2008/layout/HorizontalMultiLevelHierarchy"/>
    <dgm:cxn modelId="{D66E0AAD-4A1C-BF40-BFFE-D3A7C7F6EACF}" type="presOf" srcId="{B4B50EEB-1538-DF45-B07F-7D0FD83C8ED3}" destId="{91975744-72FE-E947-98E3-ECF3B2E7C3DC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2C76BA7-40EC-2D43-95DB-F02E6FC211B4}" type="presOf" srcId="{73DD7058-02B4-D24C-9D13-AF75375EF8E6}" destId="{55365CED-83D4-194F-A914-2CFC37CD9B45}" srcOrd="0" destOrd="0" presId="urn:microsoft.com/office/officeart/2008/layout/HorizontalMultiLevelHierarchy"/>
    <dgm:cxn modelId="{1689FF1D-AF85-9A4D-A1BC-172876BFC4B1}" type="presOf" srcId="{63D1AE09-4F57-A443-A1FD-2A3034962097}" destId="{B7A5E06F-5B4B-C947-BFA6-C1FA5998CE54}" srcOrd="0" destOrd="0" presId="urn:microsoft.com/office/officeart/2008/layout/HorizontalMultiLevelHierarchy"/>
    <dgm:cxn modelId="{E3C88676-2332-1D4C-843F-C6E34701BCA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606B8733-12B4-B24E-8CBF-71B33E8202A0}" type="presOf" srcId="{0726F871-37F4-AB40-AF73-6656D7E9C85D}" destId="{613226CB-11A4-C549-82A6-64B9BCFE1002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40131C9-6013-C94E-96C1-BBA9B6D1AB60}" type="presOf" srcId="{5E2A7D5A-EFB6-9C4F-A960-3D6903C39497}" destId="{1442578F-E924-E34F-9FA5-3F4C2CF65BC9}" srcOrd="0" destOrd="0" presId="urn:microsoft.com/office/officeart/2008/layout/HorizontalMultiLevelHierarchy"/>
    <dgm:cxn modelId="{3900A01C-8ADD-AE48-AA0B-85EE875D7B26}" type="presOf" srcId="{07A4D93E-7AFB-4E4D-8384-CFBE7085BD56}" destId="{9D34DFA2-4C7C-5642-ADF0-8F3EDFBC71AF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5C8AC643-FF8E-3440-B311-1C901E62AA59}" type="presOf" srcId="{9EB1846C-ABB5-9E44-B030-7BE73C498E59}" destId="{60914178-E972-6747-98A5-9B1042D21399}" srcOrd="0" destOrd="0" presId="urn:microsoft.com/office/officeart/2008/layout/HorizontalMultiLevelHierarchy"/>
    <dgm:cxn modelId="{BC2AB7B9-3BB6-DF44-B4E9-8E4EE9AAE828}" type="presOf" srcId="{134C8002-4160-B046-917F-B9172D6D011E}" destId="{569810E7-365A-FB48-A979-23DA3465EF4F}" srcOrd="1" destOrd="0" presId="urn:microsoft.com/office/officeart/2008/layout/HorizontalMultiLevelHierarchy"/>
    <dgm:cxn modelId="{F9AB838F-6742-944F-8538-AECBE5DF1696}" type="presOf" srcId="{73DD7058-02B4-D24C-9D13-AF75375EF8E6}" destId="{12E46C15-0F90-7843-8745-7EFB583D5A38}" srcOrd="1" destOrd="0" presId="urn:microsoft.com/office/officeart/2008/layout/HorizontalMultiLevelHierarchy"/>
    <dgm:cxn modelId="{76A140BD-6EB0-A548-801E-2A5662487110}" type="presOf" srcId="{EF2BFDE9-4D1F-3049-B62C-65BE59459C50}" destId="{5167760A-1265-4C43-B02A-4A72B3B39F5E}" srcOrd="0" destOrd="0" presId="urn:microsoft.com/office/officeart/2008/layout/HorizontalMultiLevelHierarchy"/>
    <dgm:cxn modelId="{C09B52B1-562B-E242-AF35-6BFA1C5AD3C4}" type="presOf" srcId="{5E2A7D5A-EFB6-9C4F-A960-3D6903C39497}" destId="{E59B7B1E-3287-FB43-A405-2A84667315EC}" srcOrd="1" destOrd="0" presId="urn:microsoft.com/office/officeart/2008/layout/HorizontalMultiLevelHierarchy"/>
    <dgm:cxn modelId="{9A7606FB-F9C3-0D42-8038-D459BB52772E}" type="presOf" srcId="{7E0C02E8-17C2-874D-B6DE-8E3A1D3437C9}" destId="{448042B3-2CED-424C-815C-8FD3B3AD8A39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CE5B183-422D-EB45-A3BB-5DE7BADDDA46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45F1BAD8-7D30-0E42-971E-4631025A2692}" type="presOf" srcId="{90FBF026-5068-6043-A75B-344D047E346D}" destId="{2242491C-75CB-654B-ABCA-74AF8E25B4E8}" srcOrd="0" destOrd="0" presId="urn:microsoft.com/office/officeart/2008/layout/HorizontalMultiLevelHierarchy"/>
    <dgm:cxn modelId="{F18FE033-C691-6D46-A90D-3760CABCCA43}" type="presOf" srcId="{134C8002-4160-B046-917F-B9172D6D011E}" destId="{33DDFCA5-CC66-CC45-A430-EDF4DA53BA9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B8B2DE6-CED4-4346-8B0C-594044776B13}" type="presOf" srcId="{63D1AE09-4F57-A443-A1FD-2A3034962097}" destId="{04D949B2-6FA5-4948-B335-DDA85E4E65B1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F5949C09-E62B-F04E-A8E7-1EEFD510345D}" type="presOf" srcId="{C0976C3D-B466-7D45-ABFB-2E3685B2F19C}" destId="{D35EA19E-870C-2F44-A620-E6B51FB20589}" srcOrd="0" destOrd="0" presId="urn:microsoft.com/office/officeart/2008/layout/HorizontalMultiLevelHierarchy"/>
    <dgm:cxn modelId="{FBE3B05C-C786-AA4A-8E54-737047786746}" type="presOf" srcId="{8B212141-5DD9-384A-A240-561E72DAAF7B}" destId="{21C89BDE-E13D-974B-B17D-6B6CDBB2C8DB}" srcOrd="0" destOrd="0" presId="urn:microsoft.com/office/officeart/2008/layout/HorizontalMultiLevelHierarchy"/>
    <dgm:cxn modelId="{0B10499A-0930-404E-B0FA-3AA0572B70B2}" type="presParOf" srcId="{613226CB-11A4-C549-82A6-64B9BCFE1002}" destId="{3BA40406-1E55-1642-A22A-B49F5A173AC8}" srcOrd="0" destOrd="0" presId="urn:microsoft.com/office/officeart/2008/layout/HorizontalMultiLevelHierarchy"/>
    <dgm:cxn modelId="{CB89E6D9-C5F9-5244-A6FF-D560615297DB}" type="presParOf" srcId="{3BA40406-1E55-1642-A22A-B49F5A173AC8}" destId="{99E936FD-8649-9640-96D2-9202E1CEC417}" srcOrd="0" destOrd="0" presId="urn:microsoft.com/office/officeart/2008/layout/HorizontalMultiLevelHierarchy"/>
    <dgm:cxn modelId="{48FDBAA7-99E1-7342-BBCC-4A0943F1FD6F}" type="presParOf" srcId="{3BA40406-1E55-1642-A22A-B49F5A173AC8}" destId="{598DBB90-9C26-4C4B-AC1C-FF1827BF8D97}" srcOrd="1" destOrd="0" presId="urn:microsoft.com/office/officeart/2008/layout/HorizontalMultiLevelHierarchy"/>
    <dgm:cxn modelId="{C01378FB-3E84-4B4C-81A2-48DC6FA866C7}" type="presParOf" srcId="{598DBB90-9C26-4C4B-AC1C-FF1827BF8D97}" destId="{D778007E-9974-2C41-910F-E1E5562B090A}" srcOrd="0" destOrd="0" presId="urn:microsoft.com/office/officeart/2008/layout/HorizontalMultiLevelHierarchy"/>
    <dgm:cxn modelId="{98F174BA-E7B8-8C43-B5C1-3C8FAAAF6C47}" type="presParOf" srcId="{D778007E-9974-2C41-910F-E1E5562B090A}" destId="{AB33012A-8C54-6245-96E8-E0111C081E33}" srcOrd="0" destOrd="0" presId="urn:microsoft.com/office/officeart/2008/layout/HorizontalMultiLevelHierarchy"/>
    <dgm:cxn modelId="{9CCB8522-1810-A74E-98F1-16452EB0F5E5}" type="presParOf" srcId="{598DBB90-9C26-4C4B-AC1C-FF1827BF8D97}" destId="{BCA6FE17-8DB6-0242-A6E4-C7D3971EBD97}" srcOrd="1" destOrd="0" presId="urn:microsoft.com/office/officeart/2008/layout/HorizontalMultiLevelHierarchy"/>
    <dgm:cxn modelId="{E2DB42F2-35B7-4548-8A9F-872B47161A24}" type="presParOf" srcId="{BCA6FE17-8DB6-0242-A6E4-C7D3971EBD97}" destId="{5E781A07-1968-A143-88EC-827822313B55}" srcOrd="0" destOrd="0" presId="urn:microsoft.com/office/officeart/2008/layout/HorizontalMultiLevelHierarchy"/>
    <dgm:cxn modelId="{63E4550A-5BB0-EB41-B92A-FCE9B067036D}" type="presParOf" srcId="{BCA6FE17-8DB6-0242-A6E4-C7D3971EBD97}" destId="{BDDED42C-20CE-EF4E-85AA-7830E9428B23}" srcOrd="1" destOrd="0" presId="urn:microsoft.com/office/officeart/2008/layout/HorizontalMultiLevelHierarchy"/>
    <dgm:cxn modelId="{FA44B127-8D32-9744-9D9B-22D14BC78555}" type="presParOf" srcId="{598DBB90-9C26-4C4B-AC1C-FF1827BF8D97}" destId="{B7A5E06F-5B4B-C947-BFA6-C1FA5998CE54}" srcOrd="2" destOrd="0" presId="urn:microsoft.com/office/officeart/2008/layout/HorizontalMultiLevelHierarchy"/>
    <dgm:cxn modelId="{BB15BC91-0B96-3340-AB3A-C1E356E6109B}" type="presParOf" srcId="{B7A5E06F-5B4B-C947-BFA6-C1FA5998CE54}" destId="{04D949B2-6FA5-4948-B335-DDA85E4E65B1}" srcOrd="0" destOrd="0" presId="urn:microsoft.com/office/officeart/2008/layout/HorizontalMultiLevelHierarchy"/>
    <dgm:cxn modelId="{15027A46-7510-A442-AEB7-5E44CC7B3734}" type="presParOf" srcId="{598DBB90-9C26-4C4B-AC1C-FF1827BF8D97}" destId="{5B0B9041-BDB4-7141-9957-0BEAFB33AEFE}" srcOrd="3" destOrd="0" presId="urn:microsoft.com/office/officeart/2008/layout/HorizontalMultiLevelHierarchy"/>
    <dgm:cxn modelId="{A9566B33-6804-1F43-9123-D4D76593E067}" type="presParOf" srcId="{5B0B9041-BDB4-7141-9957-0BEAFB33AEFE}" destId="{D35EA19E-870C-2F44-A620-E6B51FB20589}" srcOrd="0" destOrd="0" presId="urn:microsoft.com/office/officeart/2008/layout/HorizontalMultiLevelHierarchy"/>
    <dgm:cxn modelId="{E7CA6412-78E5-2546-AEE3-0023FF3A4225}" type="presParOf" srcId="{5B0B9041-BDB4-7141-9957-0BEAFB33AEFE}" destId="{62348515-9687-1045-ADA1-3184EC8CEC61}" srcOrd="1" destOrd="0" presId="urn:microsoft.com/office/officeart/2008/layout/HorizontalMultiLevelHierarchy"/>
    <dgm:cxn modelId="{E70F8BDB-4B10-D04B-B473-9DCCF482DB21}" type="presParOf" srcId="{598DBB90-9C26-4C4B-AC1C-FF1827BF8D97}" destId="{42308E2A-E89A-524C-8598-CEBE02495F63}" srcOrd="4" destOrd="0" presId="urn:microsoft.com/office/officeart/2008/layout/HorizontalMultiLevelHierarchy"/>
    <dgm:cxn modelId="{2B4F3BE5-FD2C-3743-8425-25A4D28DA856}" type="presParOf" srcId="{42308E2A-E89A-524C-8598-CEBE02495F63}" destId="{9D34DFA2-4C7C-5642-ADF0-8F3EDFBC71AF}" srcOrd="0" destOrd="0" presId="urn:microsoft.com/office/officeart/2008/layout/HorizontalMultiLevelHierarchy"/>
    <dgm:cxn modelId="{386EB082-1414-5348-9A1B-181E70E61C81}" type="presParOf" srcId="{598DBB90-9C26-4C4B-AC1C-FF1827BF8D97}" destId="{5A37FE29-273D-2F4A-BA74-A981AFDF7035}" srcOrd="5" destOrd="0" presId="urn:microsoft.com/office/officeart/2008/layout/HorizontalMultiLevelHierarchy"/>
    <dgm:cxn modelId="{5E08106F-F485-D34C-8074-AA7C8DAA50B8}" type="presParOf" srcId="{5A37FE29-273D-2F4A-BA74-A981AFDF7035}" destId="{887F982A-9047-D440-AFAC-0FD9C008886A}" srcOrd="0" destOrd="0" presId="urn:microsoft.com/office/officeart/2008/layout/HorizontalMultiLevelHierarchy"/>
    <dgm:cxn modelId="{5A9DA5EC-75F6-1248-BB32-70BA8596D2EB}" type="presParOf" srcId="{5A37FE29-273D-2F4A-BA74-A981AFDF7035}" destId="{740B7AF0-357F-C843-8A5C-C85C349471AE}" srcOrd="1" destOrd="0" presId="urn:microsoft.com/office/officeart/2008/layout/HorizontalMultiLevelHierarchy"/>
    <dgm:cxn modelId="{79527572-DC84-9B41-A381-6E13DD1C18C5}" type="presParOf" srcId="{598DBB90-9C26-4C4B-AC1C-FF1827BF8D97}" destId="{996189F3-00B3-7D49-A5FC-5430A26FB618}" srcOrd="6" destOrd="0" presId="urn:microsoft.com/office/officeart/2008/layout/HorizontalMultiLevelHierarchy"/>
    <dgm:cxn modelId="{0729E947-E24B-F448-9C35-FFC802057534}" type="presParOf" srcId="{996189F3-00B3-7D49-A5FC-5430A26FB618}" destId="{DB79995B-B315-9C4C-BCA0-97AF2CF960CD}" srcOrd="0" destOrd="0" presId="urn:microsoft.com/office/officeart/2008/layout/HorizontalMultiLevelHierarchy"/>
    <dgm:cxn modelId="{3EA5CE98-6AAF-8E4C-BEA9-DACE0F1D66EB}" type="presParOf" srcId="{598DBB90-9C26-4C4B-AC1C-FF1827BF8D97}" destId="{7361FCA1-91C1-7340-94A4-772CB0377746}" srcOrd="7" destOrd="0" presId="urn:microsoft.com/office/officeart/2008/layout/HorizontalMultiLevelHierarchy"/>
    <dgm:cxn modelId="{30B4ED65-531D-9443-AF90-8BD1F525146A}" type="presParOf" srcId="{7361FCA1-91C1-7340-94A4-772CB0377746}" destId="{9E30CAA0-C8DA-7340-9AC5-F7AFBAE25743}" srcOrd="0" destOrd="0" presId="urn:microsoft.com/office/officeart/2008/layout/HorizontalMultiLevelHierarchy"/>
    <dgm:cxn modelId="{959F5E6F-BA47-4C40-A688-BAFAE6AE9CA1}" type="presParOf" srcId="{7361FCA1-91C1-7340-94A4-772CB0377746}" destId="{75AE1B1C-8672-CF47-8665-1AE6D32AB23F}" srcOrd="1" destOrd="0" presId="urn:microsoft.com/office/officeart/2008/layout/HorizontalMultiLevelHierarchy"/>
    <dgm:cxn modelId="{625F4505-7B81-F444-843D-6177CC6BF2F5}" type="presParOf" srcId="{598DBB90-9C26-4C4B-AC1C-FF1827BF8D97}" destId="{1442578F-E924-E34F-9FA5-3F4C2CF65BC9}" srcOrd="8" destOrd="0" presId="urn:microsoft.com/office/officeart/2008/layout/HorizontalMultiLevelHierarchy"/>
    <dgm:cxn modelId="{CBE60C51-270A-7046-B49B-558DE4BEA9C2}" type="presParOf" srcId="{1442578F-E924-E34F-9FA5-3F4C2CF65BC9}" destId="{E59B7B1E-3287-FB43-A405-2A84667315EC}" srcOrd="0" destOrd="0" presId="urn:microsoft.com/office/officeart/2008/layout/HorizontalMultiLevelHierarchy"/>
    <dgm:cxn modelId="{163A70AA-874D-F646-889C-1F49CA836F2A}" type="presParOf" srcId="{598DBB90-9C26-4C4B-AC1C-FF1827BF8D97}" destId="{6188AF91-8F5E-7F4E-A0A2-13FA32167F53}" srcOrd="9" destOrd="0" presId="urn:microsoft.com/office/officeart/2008/layout/HorizontalMultiLevelHierarchy"/>
    <dgm:cxn modelId="{37783341-611F-EF43-ADC2-83F9E98D113B}" type="presParOf" srcId="{6188AF91-8F5E-7F4E-A0A2-13FA32167F53}" destId="{5167760A-1265-4C43-B02A-4A72B3B39F5E}" srcOrd="0" destOrd="0" presId="urn:microsoft.com/office/officeart/2008/layout/HorizontalMultiLevelHierarchy"/>
    <dgm:cxn modelId="{3FE13CD5-879F-2B4A-9CCE-465B171B8269}" type="presParOf" srcId="{6188AF91-8F5E-7F4E-A0A2-13FA32167F53}" destId="{21F2C295-F343-AC4A-8BE2-CFD4DAC170AE}" srcOrd="1" destOrd="0" presId="urn:microsoft.com/office/officeart/2008/layout/HorizontalMultiLevelHierarchy"/>
    <dgm:cxn modelId="{484E9C63-47EF-F14A-891B-0F7E94F77EE4}" type="presParOf" srcId="{598DBB90-9C26-4C4B-AC1C-FF1827BF8D97}" destId="{A3F719CD-4C36-CF49-B90F-B8B40A2B29DE}" srcOrd="10" destOrd="0" presId="urn:microsoft.com/office/officeart/2008/layout/HorizontalMultiLevelHierarchy"/>
    <dgm:cxn modelId="{702C00B9-D157-0A4B-9337-900D9A4610AD}" type="presParOf" srcId="{A3F719CD-4C36-CF49-B90F-B8B40A2B29DE}" destId="{348A166D-A55E-9147-99A1-FB87A4CF61A8}" srcOrd="0" destOrd="0" presId="urn:microsoft.com/office/officeart/2008/layout/HorizontalMultiLevelHierarchy"/>
    <dgm:cxn modelId="{77AB41B5-DADE-D844-93EE-10B6CD7A99D9}" type="presParOf" srcId="{598DBB90-9C26-4C4B-AC1C-FF1827BF8D97}" destId="{175E4F2C-D898-EE44-A4E7-79846E237DB4}" srcOrd="11" destOrd="0" presId="urn:microsoft.com/office/officeart/2008/layout/HorizontalMultiLevelHierarchy"/>
    <dgm:cxn modelId="{9E9A7947-ABA2-D34C-9923-9BD8A0867FB3}" type="presParOf" srcId="{175E4F2C-D898-EE44-A4E7-79846E237DB4}" destId="{921A596F-4B37-494E-B07C-17FD734C6406}" srcOrd="0" destOrd="0" presId="urn:microsoft.com/office/officeart/2008/layout/HorizontalMultiLevelHierarchy"/>
    <dgm:cxn modelId="{C4A322C9-7315-C84F-8F3C-BF065B6C1043}" type="presParOf" srcId="{175E4F2C-D898-EE44-A4E7-79846E237DB4}" destId="{A9D518F9-DAB2-4E45-9ECB-39AA13A01564}" srcOrd="1" destOrd="0" presId="urn:microsoft.com/office/officeart/2008/layout/HorizontalMultiLevelHierarchy"/>
    <dgm:cxn modelId="{1918D291-07B5-2E4B-A72B-848696066E6B}" type="presParOf" srcId="{598DBB90-9C26-4C4B-AC1C-FF1827BF8D97}" destId="{33DDFCA5-CC66-CC45-A430-EDF4DA53BA93}" srcOrd="12" destOrd="0" presId="urn:microsoft.com/office/officeart/2008/layout/HorizontalMultiLevelHierarchy"/>
    <dgm:cxn modelId="{DBA45D5C-E570-3141-98AD-54E15A4F33D1}" type="presParOf" srcId="{33DDFCA5-CC66-CC45-A430-EDF4DA53BA93}" destId="{569810E7-365A-FB48-A979-23DA3465EF4F}" srcOrd="0" destOrd="0" presId="urn:microsoft.com/office/officeart/2008/layout/HorizontalMultiLevelHierarchy"/>
    <dgm:cxn modelId="{23F01BAC-4DA4-E74F-A48D-3FC89EABA735}" type="presParOf" srcId="{598DBB90-9C26-4C4B-AC1C-FF1827BF8D97}" destId="{299D8B01-3ECB-7743-BE59-35C50BD6249A}" srcOrd="13" destOrd="0" presId="urn:microsoft.com/office/officeart/2008/layout/HorizontalMultiLevelHierarchy"/>
    <dgm:cxn modelId="{D13F8103-1D08-F244-AFD7-D593E47B26CD}" type="presParOf" srcId="{299D8B01-3ECB-7743-BE59-35C50BD6249A}" destId="{03DEAF18-EC72-C047-A9B4-C65BE189F02C}" srcOrd="0" destOrd="0" presId="urn:microsoft.com/office/officeart/2008/layout/HorizontalMultiLevelHierarchy"/>
    <dgm:cxn modelId="{ED650CC5-2E16-0F45-A5FC-CD74C7235CF3}" type="presParOf" srcId="{299D8B01-3ECB-7743-BE59-35C50BD6249A}" destId="{322C5A5A-9E25-6047-BB00-4DF750E135CE}" srcOrd="1" destOrd="0" presId="urn:microsoft.com/office/officeart/2008/layout/HorizontalMultiLevelHierarchy"/>
    <dgm:cxn modelId="{4F06E7E6-5639-3946-A430-B59E88835288}" type="presParOf" srcId="{322C5A5A-9E25-6047-BB00-4DF750E135CE}" destId="{393A7F55-569D-7A48-ACE0-063418018375}" srcOrd="0" destOrd="0" presId="urn:microsoft.com/office/officeart/2008/layout/HorizontalMultiLevelHierarchy"/>
    <dgm:cxn modelId="{25A7041F-0019-CB48-8801-22D5F51F22F6}" type="presParOf" srcId="{393A7F55-569D-7A48-ACE0-063418018375}" destId="{A635BF91-C219-EB46-A0CA-F8A2CE3D7BF3}" srcOrd="0" destOrd="0" presId="urn:microsoft.com/office/officeart/2008/layout/HorizontalMultiLevelHierarchy"/>
    <dgm:cxn modelId="{F72131F3-5C0F-C04B-8269-1453E46F4B06}" type="presParOf" srcId="{322C5A5A-9E25-6047-BB00-4DF750E135CE}" destId="{55918953-A6CF-814A-89F9-551623EBC010}" srcOrd="1" destOrd="0" presId="urn:microsoft.com/office/officeart/2008/layout/HorizontalMultiLevelHierarchy"/>
    <dgm:cxn modelId="{C4955B07-3587-C24F-A1EA-4407565E6E38}" type="presParOf" srcId="{55918953-A6CF-814A-89F9-551623EBC010}" destId="{448042B3-2CED-424C-815C-8FD3B3AD8A39}" srcOrd="0" destOrd="0" presId="urn:microsoft.com/office/officeart/2008/layout/HorizontalMultiLevelHierarchy"/>
    <dgm:cxn modelId="{CA826622-6618-6B43-BD55-5E1BC018F4AF}" type="presParOf" srcId="{55918953-A6CF-814A-89F9-551623EBC010}" destId="{4C59A0B4-1525-104C-AAB2-E79163983336}" srcOrd="1" destOrd="0" presId="urn:microsoft.com/office/officeart/2008/layout/HorizontalMultiLevelHierarchy"/>
    <dgm:cxn modelId="{02FEA10E-86A9-A144-A8B2-FB230CC15F5D}" type="presParOf" srcId="{322C5A5A-9E25-6047-BB00-4DF750E135CE}" destId="{64F502CF-3E90-0B4E-886C-91AB3F51938D}" srcOrd="2" destOrd="0" presId="urn:microsoft.com/office/officeart/2008/layout/HorizontalMultiLevelHierarchy"/>
    <dgm:cxn modelId="{B067B07F-574B-E743-9716-7802F5A21BB6}" type="presParOf" srcId="{64F502CF-3E90-0B4E-886C-91AB3F51938D}" destId="{6FA82A28-C585-714B-9AF5-DA995FB3DF53}" srcOrd="0" destOrd="0" presId="urn:microsoft.com/office/officeart/2008/layout/HorizontalMultiLevelHierarchy"/>
    <dgm:cxn modelId="{53BA24AD-B9AA-224E-8E0F-79B554A809F2}" type="presParOf" srcId="{322C5A5A-9E25-6047-BB00-4DF750E135CE}" destId="{EC8B6A62-9FAE-5045-A1A4-029DC2356DF7}" srcOrd="3" destOrd="0" presId="urn:microsoft.com/office/officeart/2008/layout/HorizontalMultiLevelHierarchy"/>
    <dgm:cxn modelId="{42A619CA-5555-3842-B9A4-E0BA316A347A}" type="presParOf" srcId="{EC8B6A62-9FAE-5045-A1A4-029DC2356DF7}" destId="{F9B786D6-8B73-AC47-BEA7-3780A17C3E39}" srcOrd="0" destOrd="0" presId="urn:microsoft.com/office/officeart/2008/layout/HorizontalMultiLevelHierarchy"/>
    <dgm:cxn modelId="{1925D590-A5CA-5448-86F8-853D1977DD38}" type="presParOf" srcId="{EC8B6A62-9FAE-5045-A1A4-029DC2356DF7}" destId="{6E27147E-0C63-E041-AB6B-5C0E60851726}" srcOrd="1" destOrd="0" presId="urn:microsoft.com/office/officeart/2008/layout/HorizontalMultiLevelHierarchy"/>
    <dgm:cxn modelId="{F3DCE2DD-30A1-DA45-93A3-EE76E744F76A}" type="presParOf" srcId="{598DBB90-9C26-4C4B-AC1C-FF1827BF8D97}" destId="{60914178-E972-6747-98A5-9B1042D21399}" srcOrd="14" destOrd="0" presId="urn:microsoft.com/office/officeart/2008/layout/HorizontalMultiLevelHierarchy"/>
    <dgm:cxn modelId="{160BCF41-ACEC-5348-ABF6-CC847382CD67}" type="presParOf" srcId="{60914178-E972-6747-98A5-9B1042D21399}" destId="{03FF4E40-A0E8-E040-A52F-D68379DCC349}" srcOrd="0" destOrd="0" presId="urn:microsoft.com/office/officeart/2008/layout/HorizontalMultiLevelHierarchy"/>
    <dgm:cxn modelId="{22BF99F0-3485-D14C-A5AE-3FABB6FF5067}" type="presParOf" srcId="{598DBB90-9C26-4C4B-AC1C-FF1827BF8D97}" destId="{82D22835-936A-1D4B-AF7A-2D86C6FB8621}" srcOrd="15" destOrd="0" presId="urn:microsoft.com/office/officeart/2008/layout/HorizontalMultiLevelHierarchy"/>
    <dgm:cxn modelId="{826EF6C5-83EF-0845-8D8D-4B33A2F0E27F}" type="presParOf" srcId="{82D22835-936A-1D4B-AF7A-2D86C6FB8621}" destId="{4D444EFA-484D-8B49-B53F-73AE5DAC83CB}" srcOrd="0" destOrd="0" presId="urn:microsoft.com/office/officeart/2008/layout/HorizontalMultiLevelHierarchy"/>
    <dgm:cxn modelId="{BF1DD3D3-AB2E-C84E-9729-7E73FC963CDD}" type="presParOf" srcId="{82D22835-936A-1D4B-AF7A-2D86C6FB8621}" destId="{780003EA-E55D-2544-948D-2BA68EB5F8A9}" srcOrd="1" destOrd="0" presId="urn:microsoft.com/office/officeart/2008/layout/HorizontalMultiLevelHierarchy"/>
    <dgm:cxn modelId="{6B65105E-8C99-F947-B482-1EEC8CE995B2}" type="presParOf" srcId="{598DBB90-9C26-4C4B-AC1C-FF1827BF8D97}" destId="{91975744-72FE-E947-98E3-ECF3B2E7C3DC}" srcOrd="16" destOrd="0" presId="urn:microsoft.com/office/officeart/2008/layout/HorizontalMultiLevelHierarchy"/>
    <dgm:cxn modelId="{8563774D-26DE-D340-9982-204FF8E48A9A}" type="presParOf" srcId="{91975744-72FE-E947-98E3-ECF3B2E7C3DC}" destId="{7C4C248C-9225-884B-A9F0-E626AEAE24C9}" srcOrd="0" destOrd="0" presId="urn:microsoft.com/office/officeart/2008/layout/HorizontalMultiLevelHierarchy"/>
    <dgm:cxn modelId="{CA57BD99-1ADE-ED4D-8A1C-7BD0913CC770}" type="presParOf" srcId="{598DBB90-9C26-4C4B-AC1C-FF1827BF8D97}" destId="{FD91877E-03C5-8D41-B768-0E4703294F6C}" srcOrd="17" destOrd="0" presId="urn:microsoft.com/office/officeart/2008/layout/HorizontalMultiLevelHierarchy"/>
    <dgm:cxn modelId="{C344F7FB-3B80-8D46-B77A-A9F212FDD95B}" type="presParOf" srcId="{FD91877E-03C5-8D41-B768-0E4703294F6C}" destId="{73B69BAE-7567-8E4E-A9B2-D2862F6B978E}" srcOrd="0" destOrd="0" presId="urn:microsoft.com/office/officeart/2008/layout/HorizontalMultiLevelHierarchy"/>
    <dgm:cxn modelId="{25EEF095-02A7-CF49-9ADB-DC63F7B6B8E4}" type="presParOf" srcId="{FD91877E-03C5-8D41-B768-0E4703294F6C}" destId="{27C85358-980A-884D-9DDA-63018758070E}" srcOrd="1" destOrd="0" presId="urn:microsoft.com/office/officeart/2008/layout/HorizontalMultiLevelHierarchy"/>
    <dgm:cxn modelId="{C578B8BD-DD02-8E41-BA2D-CCDE599DDF38}" type="presParOf" srcId="{27C85358-980A-884D-9DDA-63018758070E}" destId="{55365CED-83D4-194F-A914-2CFC37CD9B45}" srcOrd="0" destOrd="0" presId="urn:microsoft.com/office/officeart/2008/layout/HorizontalMultiLevelHierarchy"/>
    <dgm:cxn modelId="{6A5858E6-DFD7-F146-9A76-E7EE55B169F0}" type="presParOf" srcId="{55365CED-83D4-194F-A914-2CFC37CD9B45}" destId="{12E46C15-0F90-7843-8745-7EFB583D5A38}" srcOrd="0" destOrd="0" presId="urn:microsoft.com/office/officeart/2008/layout/HorizontalMultiLevelHierarchy"/>
    <dgm:cxn modelId="{4FABFAB1-E12F-D349-8B1F-1F28BAD6F675}" type="presParOf" srcId="{27C85358-980A-884D-9DDA-63018758070E}" destId="{76889E03-95A4-234A-BE0C-87E6CEF02D37}" srcOrd="1" destOrd="0" presId="urn:microsoft.com/office/officeart/2008/layout/HorizontalMultiLevelHierarchy"/>
    <dgm:cxn modelId="{BAC3642E-A874-684B-A962-C290C774495A}" type="presParOf" srcId="{76889E03-95A4-234A-BE0C-87E6CEF02D37}" destId="{21C89BDE-E13D-974B-B17D-6B6CDBB2C8DB}" srcOrd="0" destOrd="0" presId="urn:microsoft.com/office/officeart/2008/layout/HorizontalMultiLevelHierarchy"/>
    <dgm:cxn modelId="{B6117E63-0579-D942-9545-FB18869942B7}" type="presParOf" srcId="{76889E03-95A4-234A-BE0C-87E6CEF02D37}" destId="{FB25556A-79E0-D042-8EE4-421CC8CFEFD5}" srcOrd="1" destOrd="0" presId="urn:microsoft.com/office/officeart/2008/layout/HorizontalMultiLevelHierarchy"/>
    <dgm:cxn modelId="{30D586DC-C563-6544-A3FA-A7A796CDFA1A}" type="presParOf" srcId="{27C85358-980A-884D-9DDA-63018758070E}" destId="{2242491C-75CB-654B-ABCA-74AF8E25B4E8}" srcOrd="2" destOrd="0" presId="urn:microsoft.com/office/officeart/2008/layout/HorizontalMultiLevelHierarchy"/>
    <dgm:cxn modelId="{E80ACBCB-BD70-5746-915A-8896BFEDE22C}" type="presParOf" srcId="{2242491C-75CB-654B-ABCA-74AF8E25B4E8}" destId="{62990B64-CF79-7146-BF7B-48A759C6E310}" srcOrd="0" destOrd="0" presId="urn:microsoft.com/office/officeart/2008/layout/HorizontalMultiLevelHierarchy"/>
    <dgm:cxn modelId="{DAF9FFCA-2C54-A948-98AA-AA252044CD5C}" type="presParOf" srcId="{27C85358-980A-884D-9DDA-63018758070E}" destId="{34BC8C0B-A669-9B42-82AD-78E158ADEE5B}" srcOrd="3" destOrd="0" presId="urn:microsoft.com/office/officeart/2008/layout/HorizontalMultiLevelHierarchy"/>
    <dgm:cxn modelId="{DEDE1E29-5E65-1442-B4DB-2A0BBAD878F0}" type="presParOf" srcId="{34BC8C0B-A669-9B42-82AD-78E158ADEE5B}" destId="{84732D04-01E1-2742-A082-1195BCDCDEC2}" srcOrd="0" destOrd="0" presId="urn:microsoft.com/office/officeart/2008/layout/HorizontalMultiLevelHierarchy"/>
    <dgm:cxn modelId="{4C7C22DF-BBD3-7340-82E3-BAB4450EC5D0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DE58B5CE-414F-A64B-B5BB-104756051A34}" type="presOf" srcId="{63D1AE09-4F57-A443-A1FD-2A3034962097}" destId="{04D949B2-6FA5-4948-B335-DDA85E4E65B1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0CF8EF11-6797-0342-ACF3-F7453E9BA966}" type="presOf" srcId="{174F7A28-653D-6F45-9860-935E35504EE1}" destId="{4D444EFA-484D-8B49-B53F-73AE5DAC83CB}" srcOrd="0" destOrd="0" presId="urn:microsoft.com/office/officeart/2008/layout/HorizontalMultiLevelHierarchy"/>
    <dgm:cxn modelId="{15F4A202-3F64-3F4F-AF2D-DBD0BBB86A41}" type="presOf" srcId="{63D1AE09-4F57-A443-A1FD-2A3034962097}" destId="{B7A5E06F-5B4B-C947-BFA6-C1FA5998CE54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A70E6B2-C58B-4A48-803B-F579BE0F13D9}" type="presOf" srcId="{78A64519-4827-364C-A275-D5C68A949ADD}" destId="{33CE7315-72E8-4545-9EC6-56F4D0BEC64D}" srcOrd="0" destOrd="0" presId="urn:microsoft.com/office/officeart/2008/layout/HorizontalMultiLevelHierarchy"/>
    <dgm:cxn modelId="{61CC64CB-DB56-7C48-8745-E72A8A2635A7}" type="presOf" srcId="{5ADEDBF8-717E-F946-B11E-4CC50D9988C8}" destId="{AB33012A-8C54-6245-96E8-E0111C081E33}" srcOrd="1" destOrd="0" presId="urn:microsoft.com/office/officeart/2008/layout/HorizontalMultiLevelHierarchy"/>
    <dgm:cxn modelId="{A52FB6BE-8927-8C43-BC63-3E490E3B0E2C}" type="presOf" srcId="{26144DC7-9794-3E4B-BF8F-331E25884D5F}" destId="{921A596F-4B37-494E-B07C-17FD734C6406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A4233A-84EE-B74E-B158-6BB4A79454C7}" type="presOf" srcId="{75291F63-6D2A-BA4D-9808-5F545EE4CCF0}" destId="{9FB8B136-71A7-D34F-B7EB-BD8FC5C96ECE}" srcOrd="0" destOrd="0" presId="urn:microsoft.com/office/officeart/2008/layout/HorizontalMultiLevelHierarchy"/>
    <dgm:cxn modelId="{24F60FF3-FD57-584C-B5DF-B39E0560EA69}" type="presOf" srcId="{436C1B23-A07F-9344-ADAB-98173723FB7F}" destId="{B541F6A1-B2AA-7447-8E11-AC7AA5D5D50B}" srcOrd="0" destOrd="0" presId="urn:microsoft.com/office/officeart/2008/layout/HorizontalMultiLevelHierarchy"/>
    <dgm:cxn modelId="{0AAB7956-B009-2048-AD4F-F23B5A80112C}" type="presOf" srcId="{436C1B23-A07F-9344-ADAB-98173723FB7F}" destId="{0637CC4E-4D30-724B-9FFD-C7AED88FB068}" srcOrd="1" destOrd="0" presId="urn:microsoft.com/office/officeart/2008/layout/HorizontalMultiLevelHierarchy"/>
    <dgm:cxn modelId="{3DD0A8C8-1C1D-734F-9659-BA16BFF4D276}" type="presOf" srcId="{8BC59F7D-94BF-3B43-BF5D-5485F4809DAD}" destId="{756F0DD8-11FC-8647-8FC8-7AAB634C5717}" srcOrd="1" destOrd="0" presId="urn:microsoft.com/office/officeart/2008/layout/HorizontalMultiLevelHierarchy"/>
    <dgm:cxn modelId="{B7698C0F-91E5-6547-B4D3-997C5DFE8D64}" type="presOf" srcId="{E543121D-95F7-3E47-B964-B7B948211EBC}" destId="{2C1F9B08-4495-8146-8974-2654E99B2E9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AA97C012-E63C-B94A-B9AB-3A8E86C7683D}" type="presOf" srcId="{7E0C02E8-17C2-874D-B6DE-8E3A1D3437C9}" destId="{448042B3-2CED-424C-815C-8FD3B3AD8A39}" srcOrd="0" destOrd="0" presId="urn:microsoft.com/office/officeart/2008/layout/HorizontalMultiLevelHierarchy"/>
    <dgm:cxn modelId="{A804E818-CA8C-0249-8C33-0E2890436404}" type="presOf" srcId="{134C8002-4160-B046-917F-B9172D6D011E}" destId="{33DDFCA5-CC66-CC45-A430-EDF4DA53BA93}" srcOrd="0" destOrd="0" presId="urn:microsoft.com/office/officeart/2008/layout/HorizontalMultiLevelHierarchy"/>
    <dgm:cxn modelId="{4F2CFD3F-1C18-984F-B46C-45A484694CBD}" type="presOf" srcId="{08733529-A5F0-F14D-8E75-74214329B040}" destId="{393A7F55-569D-7A48-ACE0-063418018375}" srcOrd="0" destOrd="0" presId="urn:microsoft.com/office/officeart/2008/layout/HorizontalMultiLevelHierarchy"/>
    <dgm:cxn modelId="{672C0960-4317-3842-B080-8E8E63B341AD}" type="presOf" srcId="{B64CCDD1-81AB-5245-B99A-E87DB05674D4}" destId="{3C43B809-8F2F-3641-8339-1043D47661D7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443F1B44-DE77-A543-9A85-E4836F01B52D}" type="presOf" srcId="{0726F871-37F4-AB40-AF73-6656D7E9C85D}" destId="{613226CB-11A4-C549-82A6-64B9BCFE1002}" srcOrd="0" destOrd="0" presId="urn:microsoft.com/office/officeart/2008/layout/HorizontalMultiLevelHierarchy"/>
    <dgm:cxn modelId="{F8277502-1500-744A-92DB-FEDD14662786}" type="presOf" srcId="{BA9C693C-1CF5-6E4E-A8C4-1E304AFD6DF5}" destId="{99E936FD-8649-9640-96D2-9202E1CEC417}" srcOrd="0" destOrd="0" presId="urn:microsoft.com/office/officeart/2008/layout/HorizontalMultiLevelHierarchy"/>
    <dgm:cxn modelId="{1D0366F6-6271-E040-9FA9-D90E0EB18307}" type="presOf" srcId="{5E2A7D5A-EFB6-9C4F-A960-3D6903C39497}" destId="{E59B7B1E-3287-FB43-A405-2A84667315EC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00EEDE64-AEFA-0040-8038-64A8F716FD25}" type="presOf" srcId="{C24B2AD7-9651-4B45-A8F4-0314EA8D4874}" destId="{8AD8F429-D3CB-F748-A62E-81D3E0DD1FE1}" srcOrd="0" destOrd="0" presId="urn:microsoft.com/office/officeart/2008/layout/HorizontalMultiLevelHierarchy"/>
    <dgm:cxn modelId="{704A477D-C38E-0A4A-A2D6-34BABDF709D0}" type="presOf" srcId="{6577C284-4D20-2C4A-88D4-29EB6FEAC9C2}" destId="{A3F719CD-4C36-CF49-B90F-B8B40A2B29DE}" srcOrd="0" destOrd="0" presId="urn:microsoft.com/office/officeart/2008/layout/HorizontalMultiLevelHierarchy"/>
    <dgm:cxn modelId="{44A4524A-BE40-EA4D-9168-2B579E529FA3}" type="presOf" srcId="{E543121D-95F7-3E47-B964-B7B948211EBC}" destId="{C9D429FE-9539-9D4A-9750-F9C781598EC4}" srcOrd="1" destOrd="0" presId="urn:microsoft.com/office/officeart/2008/layout/HorizontalMultiLevelHierarchy"/>
    <dgm:cxn modelId="{C3662FB7-2ED3-DB46-B33F-F87F57331AE8}" type="presOf" srcId="{859769CA-042B-6244-840F-75AE1403619A}" destId="{4E546A01-1907-BB4F-B534-4E81DE6081F4}" srcOrd="0" destOrd="0" presId="urn:microsoft.com/office/officeart/2008/layout/HorizontalMultiLevelHierarchy"/>
    <dgm:cxn modelId="{391CDF56-C228-2948-9CAE-CF0E7570C1C3}" type="presOf" srcId="{9EB1846C-ABB5-9E44-B030-7BE73C498E59}" destId="{03FF4E40-A0E8-E040-A52F-D68379DCC349}" srcOrd="1" destOrd="0" presId="urn:microsoft.com/office/officeart/2008/layout/HorizontalMultiLevelHierarchy"/>
    <dgm:cxn modelId="{FD2EE33A-121C-2F46-8DBF-E528FB1C53CE}" type="presOf" srcId="{8BC59F7D-94BF-3B43-BF5D-5485F4809DAD}" destId="{6D977B4C-E88D-6044-A647-A6CC29747BE1}" srcOrd="0" destOrd="0" presId="urn:microsoft.com/office/officeart/2008/layout/HorizontalMultiLevelHierarchy"/>
    <dgm:cxn modelId="{2218B051-46F1-3B40-AD88-FF36B486A363}" type="presOf" srcId="{BBD19103-9913-2A49-AB85-F021773D5328}" destId="{64F502CF-3E90-0B4E-886C-91AB3F51938D}" srcOrd="0" destOrd="0" presId="urn:microsoft.com/office/officeart/2008/layout/HorizontalMultiLevelHierarchy"/>
    <dgm:cxn modelId="{F0BEF09B-B3BB-9F42-8B06-078459F68B52}" type="presOf" srcId="{C0976C3D-B466-7D45-ABFB-2E3685B2F19C}" destId="{D35EA19E-870C-2F44-A620-E6B51FB20589}" srcOrd="0" destOrd="0" presId="urn:microsoft.com/office/officeart/2008/layout/HorizontalMultiLevelHierarchy"/>
    <dgm:cxn modelId="{E9F4C0B6-A40D-BF46-B5E8-FF687585DAA3}" type="presOf" srcId="{B8771036-12B2-D843-AA17-BB631BA3F87D}" destId="{F9B786D6-8B73-AC47-BEA7-3780A17C3E3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A026A0A-F10F-8C47-A539-995DC066BF44}" type="presOf" srcId="{5ADEDBF8-717E-F946-B11E-4CC50D9988C8}" destId="{D778007E-9974-2C41-910F-E1E5562B090A}" srcOrd="0" destOrd="0" presId="urn:microsoft.com/office/officeart/2008/layout/HorizontalMultiLevelHierarchy"/>
    <dgm:cxn modelId="{C88EF8F2-0EB2-5F48-8249-BD2409FE9AFA}" type="presOf" srcId="{BBD19103-9913-2A49-AB85-F021773D5328}" destId="{6FA82A28-C585-714B-9AF5-DA995FB3DF53}" srcOrd="1" destOrd="0" presId="urn:microsoft.com/office/officeart/2008/layout/HorizontalMultiLevelHierarchy"/>
    <dgm:cxn modelId="{E2F14B86-E342-A44A-8716-F32DF10D9486}" type="presOf" srcId="{C24B2AD7-9651-4B45-A8F4-0314EA8D4874}" destId="{27DD3461-0240-774A-8774-CC1A00541B61}" srcOrd="1" destOrd="0" presId="urn:microsoft.com/office/officeart/2008/layout/HorizontalMultiLevelHierarchy"/>
    <dgm:cxn modelId="{7F72F4C6-AD35-FD48-B70F-470855CE7EBA}" type="presOf" srcId="{5E2A7D5A-EFB6-9C4F-A960-3D6903C39497}" destId="{1442578F-E924-E34F-9FA5-3F4C2CF65BC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ED207E09-1B32-DB4B-9CC1-4CF632A3BB19}" type="presOf" srcId="{9EB1846C-ABB5-9E44-B030-7BE73C498E59}" destId="{60914178-E972-6747-98A5-9B1042D2139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09A6FBB0-8127-C14F-9B8D-396B70836A15}" type="presOf" srcId="{990267CF-EA89-A240-9514-9AFC12BBADEE}" destId="{03DEAF18-EC72-C047-A9B4-C65BE189F02C}" srcOrd="0" destOrd="0" presId="urn:microsoft.com/office/officeart/2008/layout/HorizontalMultiLevelHierarchy"/>
    <dgm:cxn modelId="{E44F4F50-88E2-7E4B-BB54-4B621E186062}" type="presOf" srcId="{08733529-A5F0-F14D-8E75-74214329B040}" destId="{A635BF91-C219-EB46-A0CA-F8A2CE3D7BF3}" srcOrd="1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7F4172C4-2B4A-2C43-86D9-EAF8C96CF80E}" type="presOf" srcId="{EF2BFDE9-4D1F-3049-B62C-65BE59459C50}" destId="{5167760A-1265-4C43-B02A-4A72B3B39F5E}" srcOrd="0" destOrd="0" presId="urn:microsoft.com/office/officeart/2008/layout/HorizontalMultiLevelHierarchy"/>
    <dgm:cxn modelId="{E723BCA8-E9F3-494A-8D6C-713DFD07AD4B}" type="presOf" srcId="{488E1B12-EE7C-9246-8169-00D4E05307C4}" destId="{5E781A07-1968-A143-88EC-827822313B55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88C6A9A9-9518-304C-9F65-AD9C514F133D}" type="presOf" srcId="{6577C284-4D20-2C4A-88D4-29EB6FEAC9C2}" destId="{348A166D-A55E-9147-99A1-FB87A4CF61A8}" srcOrd="1" destOrd="0" presId="urn:microsoft.com/office/officeart/2008/layout/HorizontalMultiLevelHierarchy"/>
    <dgm:cxn modelId="{F362A3FC-AE39-704B-B9A4-87179DFAAEF1}" type="presOf" srcId="{134C8002-4160-B046-917F-B9172D6D011E}" destId="{569810E7-365A-FB48-A979-23DA3465EF4F}" srcOrd="1" destOrd="0" presId="urn:microsoft.com/office/officeart/2008/layout/HorizontalMultiLevelHierarchy"/>
    <dgm:cxn modelId="{7C7D31C3-2262-7749-B13D-2D144F292103}" type="presParOf" srcId="{613226CB-11A4-C549-82A6-64B9BCFE1002}" destId="{3BA40406-1E55-1642-A22A-B49F5A173AC8}" srcOrd="0" destOrd="0" presId="urn:microsoft.com/office/officeart/2008/layout/HorizontalMultiLevelHierarchy"/>
    <dgm:cxn modelId="{B03D55A5-494D-7740-B4F3-D1011E58A161}" type="presParOf" srcId="{3BA40406-1E55-1642-A22A-B49F5A173AC8}" destId="{99E936FD-8649-9640-96D2-9202E1CEC417}" srcOrd="0" destOrd="0" presId="urn:microsoft.com/office/officeart/2008/layout/HorizontalMultiLevelHierarchy"/>
    <dgm:cxn modelId="{478D511F-190A-7340-A8AA-D9015EAD2024}" type="presParOf" srcId="{3BA40406-1E55-1642-A22A-B49F5A173AC8}" destId="{598DBB90-9C26-4C4B-AC1C-FF1827BF8D97}" srcOrd="1" destOrd="0" presId="urn:microsoft.com/office/officeart/2008/layout/HorizontalMultiLevelHierarchy"/>
    <dgm:cxn modelId="{68825C2E-C295-FB43-9CB1-35825132CA21}" type="presParOf" srcId="{598DBB90-9C26-4C4B-AC1C-FF1827BF8D97}" destId="{D778007E-9974-2C41-910F-E1E5562B090A}" srcOrd="0" destOrd="0" presId="urn:microsoft.com/office/officeart/2008/layout/HorizontalMultiLevelHierarchy"/>
    <dgm:cxn modelId="{9692BB5A-09B7-D14B-A627-2D064B7EC4CD}" type="presParOf" srcId="{D778007E-9974-2C41-910F-E1E5562B090A}" destId="{AB33012A-8C54-6245-96E8-E0111C081E33}" srcOrd="0" destOrd="0" presId="urn:microsoft.com/office/officeart/2008/layout/HorizontalMultiLevelHierarchy"/>
    <dgm:cxn modelId="{A35E354F-EDD2-B748-B100-BA5DBC75E9EC}" type="presParOf" srcId="{598DBB90-9C26-4C4B-AC1C-FF1827BF8D97}" destId="{BCA6FE17-8DB6-0242-A6E4-C7D3971EBD97}" srcOrd="1" destOrd="0" presId="urn:microsoft.com/office/officeart/2008/layout/HorizontalMultiLevelHierarchy"/>
    <dgm:cxn modelId="{2DD40EB6-D904-B34C-AED7-63E68099459D}" type="presParOf" srcId="{BCA6FE17-8DB6-0242-A6E4-C7D3971EBD97}" destId="{5E781A07-1968-A143-88EC-827822313B55}" srcOrd="0" destOrd="0" presId="urn:microsoft.com/office/officeart/2008/layout/HorizontalMultiLevelHierarchy"/>
    <dgm:cxn modelId="{993DFE7F-9C25-FA49-8ECC-573577348CB7}" type="presParOf" srcId="{BCA6FE17-8DB6-0242-A6E4-C7D3971EBD97}" destId="{BDDED42C-20CE-EF4E-85AA-7830E9428B23}" srcOrd="1" destOrd="0" presId="urn:microsoft.com/office/officeart/2008/layout/HorizontalMultiLevelHierarchy"/>
    <dgm:cxn modelId="{E0DDEE1A-5856-494C-8A7F-455C0108F71F}" type="presParOf" srcId="{598DBB90-9C26-4C4B-AC1C-FF1827BF8D97}" destId="{B7A5E06F-5B4B-C947-BFA6-C1FA5998CE54}" srcOrd="2" destOrd="0" presId="urn:microsoft.com/office/officeart/2008/layout/HorizontalMultiLevelHierarchy"/>
    <dgm:cxn modelId="{2FEC926F-CDD4-BB48-8006-784AA4D33AB9}" type="presParOf" srcId="{B7A5E06F-5B4B-C947-BFA6-C1FA5998CE54}" destId="{04D949B2-6FA5-4948-B335-DDA85E4E65B1}" srcOrd="0" destOrd="0" presId="urn:microsoft.com/office/officeart/2008/layout/HorizontalMultiLevelHierarchy"/>
    <dgm:cxn modelId="{3BA0431F-666F-E544-ADFA-A535492A6AC1}" type="presParOf" srcId="{598DBB90-9C26-4C4B-AC1C-FF1827BF8D97}" destId="{5B0B9041-BDB4-7141-9957-0BEAFB33AEFE}" srcOrd="3" destOrd="0" presId="urn:microsoft.com/office/officeart/2008/layout/HorizontalMultiLevelHierarchy"/>
    <dgm:cxn modelId="{01F3FC3E-F03A-B04C-98C3-B92BB5DB5009}" type="presParOf" srcId="{5B0B9041-BDB4-7141-9957-0BEAFB33AEFE}" destId="{D35EA19E-870C-2F44-A620-E6B51FB20589}" srcOrd="0" destOrd="0" presId="urn:microsoft.com/office/officeart/2008/layout/HorizontalMultiLevelHierarchy"/>
    <dgm:cxn modelId="{60E80537-5BAF-3F4C-8E12-23CC8F365525}" type="presParOf" srcId="{5B0B9041-BDB4-7141-9957-0BEAFB33AEFE}" destId="{62348515-9687-1045-ADA1-3184EC8CEC61}" srcOrd="1" destOrd="0" presId="urn:microsoft.com/office/officeart/2008/layout/HorizontalMultiLevelHierarchy"/>
    <dgm:cxn modelId="{BE1F27D6-2778-CA4F-AB94-46DE24D58787}" type="presParOf" srcId="{62348515-9687-1045-ADA1-3184EC8CEC61}" destId="{B541F6A1-B2AA-7447-8E11-AC7AA5D5D50B}" srcOrd="0" destOrd="0" presId="urn:microsoft.com/office/officeart/2008/layout/HorizontalMultiLevelHierarchy"/>
    <dgm:cxn modelId="{1EDE4117-260E-B744-8F3A-46F5DE1DA4BB}" type="presParOf" srcId="{B541F6A1-B2AA-7447-8E11-AC7AA5D5D50B}" destId="{0637CC4E-4D30-724B-9FFD-C7AED88FB068}" srcOrd="0" destOrd="0" presId="urn:microsoft.com/office/officeart/2008/layout/HorizontalMultiLevelHierarchy"/>
    <dgm:cxn modelId="{8508EC3A-F0EB-B64A-9401-CE8FA299DD53}" type="presParOf" srcId="{62348515-9687-1045-ADA1-3184EC8CEC61}" destId="{CA3C244E-E149-0742-ACEF-44B7ECE83631}" srcOrd="1" destOrd="0" presId="urn:microsoft.com/office/officeart/2008/layout/HorizontalMultiLevelHierarchy"/>
    <dgm:cxn modelId="{CCA165F3-E794-6B4E-BA3D-2FB1E0D0F626}" type="presParOf" srcId="{CA3C244E-E149-0742-ACEF-44B7ECE83631}" destId="{9FB8B136-71A7-D34F-B7EB-BD8FC5C96ECE}" srcOrd="0" destOrd="0" presId="urn:microsoft.com/office/officeart/2008/layout/HorizontalMultiLevelHierarchy"/>
    <dgm:cxn modelId="{0813066D-4AC6-974B-9E99-D87ED4074EBB}" type="presParOf" srcId="{CA3C244E-E149-0742-ACEF-44B7ECE83631}" destId="{9B46DB51-FCC5-AC41-BECD-E28037B564D0}" srcOrd="1" destOrd="0" presId="urn:microsoft.com/office/officeart/2008/layout/HorizontalMultiLevelHierarchy"/>
    <dgm:cxn modelId="{0D5454A5-C0A8-9D42-97B2-9EC21D8A3B80}" type="presParOf" srcId="{62348515-9687-1045-ADA1-3184EC8CEC61}" destId="{2C1F9B08-4495-8146-8974-2654E99B2E9A}" srcOrd="2" destOrd="0" presId="urn:microsoft.com/office/officeart/2008/layout/HorizontalMultiLevelHierarchy"/>
    <dgm:cxn modelId="{339D615E-48DA-AA43-990E-BC3CFF22D2E7}" type="presParOf" srcId="{2C1F9B08-4495-8146-8974-2654E99B2E9A}" destId="{C9D429FE-9539-9D4A-9750-F9C781598EC4}" srcOrd="0" destOrd="0" presId="urn:microsoft.com/office/officeart/2008/layout/HorizontalMultiLevelHierarchy"/>
    <dgm:cxn modelId="{F3348A9D-86DA-6249-BD61-1C020724A3C4}" type="presParOf" srcId="{62348515-9687-1045-ADA1-3184EC8CEC61}" destId="{7F107BC0-209A-4C42-BEA6-B6817D5C9E09}" srcOrd="3" destOrd="0" presId="urn:microsoft.com/office/officeart/2008/layout/HorizontalMultiLevelHierarchy"/>
    <dgm:cxn modelId="{3AAA105F-DD29-3D4A-ABB9-59B734F95309}" type="presParOf" srcId="{7F107BC0-209A-4C42-BEA6-B6817D5C9E09}" destId="{4E546A01-1907-BB4F-B534-4E81DE6081F4}" srcOrd="0" destOrd="0" presId="urn:microsoft.com/office/officeart/2008/layout/HorizontalMultiLevelHierarchy"/>
    <dgm:cxn modelId="{F2B0CCB5-1236-C64B-811D-0ABA9A9C731B}" type="presParOf" srcId="{7F107BC0-209A-4C42-BEA6-B6817D5C9E09}" destId="{F5393339-32D0-CE4B-9AAA-4B6A114FA39A}" srcOrd="1" destOrd="0" presId="urn:microsoft.com/office/officeart/2008/layout/HorizontalMultiLevelHierarchy"/>
    <dgm:cxn modelId="{1E480ACB-7BD7-7746-96BD-EE0EDDE18CAF}" type="presParOf" srcId="{62348515-9687-1045-ADA1-3184EC8CEC61}" destId="{6D977B4C-E88D-6044-A647-A6CC29747BE1}" srcOrd="4" destOrd="0" presId="urn:microsoft.com/office/officeart/2008/layout/HorizontalMultiLevelHierarchy"/>
    <dgm:cxn modelId="{CA787C2E-6D13-F441-900D-462837FA36FA}" type="presParOf" srcId="{6D977B4C-E88D-6044-A647-A6CC29747BE1}" destId="{756F0DD8-11FC-8647-8FC8-7AAB634C5717}" srcOrd="0" destOrd="0" presId="urn:microsoft.com/office/officeart/2008/layout/HorizontalMultiLevelHierarchy"/>
    <dgm:cxn modelId="{3D46BA9B-4060-854A-8480-10D1A50A5913}" type="presParOf" srcId="{62348515-9687-1045-ADA1-3184EC8CEC61}" destId="{BAA197B9-40F5-1D46-A384-973DDEA5160C}" srcOrd="5" destOrd="0" presId="urn:microsoft.com/office/officeart/2008/layout/HorizontalMultiLevelHierarchy"/>
    <dgm:cxn modelId="{5BA525E4-B870-9842-8E6A-2C77ECF3D20B}" type="presParOf" srcId="{BAA197B9-40F5-1D46-A384-973DDEA5160C}" destId="{3C43B809-8F2F-3641-8339-1043D47661D7}" srcOrd="0" destOrd="0" presId="urn:microsoft.com/office/officeart/2008/layout/HorizontalMultiLevelHierarchy"/>
    <dgm:cxn modelId="{0EDA37F3-891A-334E-AB80-BE161403A9D4}" type="presParOf" srcId="{BAA197B9-40F5-1D46-A384-973DDEA5160C}" destId="{F59926D0-D2AF-8940-B86B-A1820706A34B}" srcOrd="1" destOrd="0" presId="urn:microsoft.com/office/officeart/2008/layout/HorizontalMultiLevelHierarchy"/>
    <dgm:cxn modelId="{C34B2531-6C74-DA4A-9023-059C95B559EA}" type="presParOf" srcId="{598DBB90-9C26-4C4B-AC1C-FF1827BF8D97}" destId="{1442578F-E924-E34F-9FA5-3F4C2CF65BC9}" srcOrd="4" destOrd="0" presId="urn:microsoft.com/office/officeart/2008/layout/HorizontalMultiLevelHierarchy"/>
    <dgm:cxn modelId="{960D111C-595F-1D48-AA7A-E757B91AC14A}" type="presParOf" srcId="{1442578F-E924-E34F-9FA5-3F4C2CF65BC9}" destId="{E59B7B1E-3287-FB43-A405-2A84667315EC}" srcOrd="0" destOrd="0" presId="urn:microsoft.com/office/officeart/2008/layout/HorizontalMultiLevelHierarchy"/>
    <dgm:cxn modelId="{34B33EE1-8A05-6145-9C1A-D1E2AB680FAB}" type="presParOf" srcId="{598DBB90-9C26-4C4B-AC1C-FF1827BF8D97}" destId="{6188AF91-8F5E-7F4E-A0A2-13FA32167F53}" srcOrd="5" destOrd="0" presId="urn:microsoft.com/office/officeart/2008/layout/HorizontalMultiLevelHierarchy"/>
    <dgm:cxn modelId="{5ADC5266-08C5-3C4D-AA64-866155DC4BF6}" type="presParOf" srcId="{6188AF91-8F5E-7F4E-A0A2-13FA32167F53}" destId="{5167760A-1265-4C43-B02A-4A72B3B39F5E}" srcOrd="0" destOrd="0" presId="urn:microsoft.com/office/officeart/2008/layout/HorizontalMultiLevelHierarchy"/>
    <dgm:cxn modelId="{209F95AA-8B78-C84D-9280-9DB76F843F47}" type="presParOf" srcId="{6188AF91-8F5E-7F4E-A0A2-13FA32167F53}" destId="{21F2C295-F343-AC4A-8BE2-CFD4DAC170AE}" srcOrd="1" destOrd="0" presId="urn:microsoft.com/office/officeart/2008/layout/HorizontalMultiLevelHierarchy"/>
    <dgm:cxn modelId="{9DF800D4-E36C-1745-9C74-E46224D8E499}" type="presParOf" srcId="{598DBB90-9C26-4C4B-AC1C-FF1827BF8D97}" destId="{A3F719CD-4C36-CF49-B90F-B8B40A2B29DE}" srcOrd="6" destOrd="0" presId="urn:microsoft.com/office/officeart/2008/layout/HorizontalMultiLevelHierarchy"/>
    <dgm:cxn modelId="{CB061D23-B76D-7241-A364-1CF340AA9078}" type="presParOf" srcId="{A3F719CD-4C36-CF49-B90F-B8B40A2B29DE}" destId="{348A166D-A55E-9147-99A1-FB87A4CF61A8}" srcOrd="0" destOrd="0" presId="urn:microsoft.com/office/officeart/2008/layout/HorizontalMultiLevelHierarchy"/>
    <dgm:cxn modelId="{DF3EB949-67BC-AE48-9BA3-13152AA44AE4}" type="presParOf" srcId="{598DBB90-9C26-4C4B-AC1C-FF1827BF8D97}" destId="{175E4F2C-D898-EE44-A4E7-79846E237DB4}" srcOrd="7" destOrd="0" presId="urn:microsoft.com/office/officeart/2008/layout/HorizontalMultiLevelHierarchy"/>
    <dgm:cxn modelId="{EAEF74D0-C9F9-AE4A-8C33-29648BDCA6FA}" type="presParOf" srcId="{175E4F2C-D898-EE44-A4E7-79846E237DB4}" destId="{921A596F-4B37-494E-B07C-17FD734C6406}" srcOrd="0" destOrd="0" presId="urn:microsoft.com/office/officeart/2008/layout/HorizontalMultiLevelHierarchy"/>
    <dgm:cxn modelId="{E3692B0B-106F-104E-A8DF-592C47F94EC3}" type="presParOf" srcId="{175E4F2C-D898-EE44-A4E7-79846E237DB4}" destId="{A9D518F9-DAB2-4E45-9ECB-39AA13A01564}" srcOrd="1" destOrd="0" presId="urn:microsoft.com/office/officeart/2008/layout/HorizontalMultiLevelHierarchy"/>
    <dgm:cxn modelId="{234E14C3-1C64-2341-8768-A658087DA718}" type="presParOf" srcId="{A9D518F9-DAB2-4E45-9ECB-39AA13A01564}" destId="{8AD8F429-D3CB-F748-A62E-81D3E0DD1FE1}" srcOrd="0" destOrd="0" presId="urn:microsoft.com/office/officeart/2008/layout/HorizontalMultiLevelHierarchy"/>
    <dgm:cxn modelId="{389B24CC-C93F-4A40-ADDC-2B9581FE0D49}" type="presParOf" srcId="{8AD8F429-D3CB-F748-A62E-81D3E0DD1FE1}" destId="{27DD3461-0240-774A-8774-CC1A00541B61}" srcOrd="0" destOrd="0" presId="urn:microsoft.com/office/officeart/2008/layout/HorizontalMultiLevelHierarchy"/>
    <dgm:cxn modelId="{432A05A5-B66B-DF4E-B18E-7CC060B0921C}" type="presParOf" srcId="{A9D518F9-DAB2-4E45-9ECB-39AA13A01564}" destId="{11FBA7F4-3D95-3448-9648-3CEA03AB03A5}" srcOrd="1" destOrd="0" presId="urn:microsoft.com/office/officeart/2008/layout/HorizontalMultiLevelHierarchy"/>
    <dgm:cxn modelId="{901142FD-0B37-674E-90EE-654D5BF6FCF9}" type="presParOf" srcId="{11FBA7F4-3D95-3448-9648-3CEA03AB03A5}" destId="{33CE7315-72E8-4545-9EC6-56F4D0BEC64D}" srcOrd="0" destOrd="0" presId="urn:microsoft.com/office/officeart/2008/layout/HorizontalMultiLevelHierarchy"/>
    <dgm:cxn modelId="{00C5F64A-BCB5-9446-980C-6601AEEF55B3}" type="presParOf" srcId="{11FBA7F4-3D95-3448-9648-3CEA03AB03A5}" destId="{F94ACA84-3A4A-0541-929E-9401CD7FB410}" srcOrd="1" destOrd="0" presId="urn:microsoft.com/office/officeart/2008/layout/HorizontalMultiLevelHierarchy"/>
    <dgm:cxn modelId="{6D10DAAE-091E-9B47-A4EF-CF44ABEB6407}" type="presParOf" srcId="{598DBB90-9C26-4C4B-AC1C-FF1827BF8D97}" destId="{33DDFCA5-CC66-CC45-A430-EDF4DA53BA93}" srcOrd="8" destOrd="0" presId="urn:microsoft.com/office/officeart/2008/layout/HorizontalMultiLevelHierarchy"/>
    <dgm:cxn modelId="{2F1AB507-F54E-E449-B667-2A60FC6BC757}" type="presParOf" srcId="{33DDFCA5-CC66-CC45-A430-EDF4DA53BA93}" destId="{569810E7-365A-FB48-A979-23DA3465EF4F}" srcOrd="0" destOrd="0" presId="urn:microsoft.com/office/officeart/2008/layout/HorizontalMultiLevelHierarchy"/>
    <dgm:cxn modelId="{D47B62D3-6F3E-664A-BBC6-D32AA25ACB54}" type="presParOf" srcId="{598DBB90-9C26-4C4B-AC1C-FF1827BF8D97}" destId="{299D8B01-3ECB-7743-BE59-35C50BD6249A}" srcOrd="9" destOrd="0" presId="urn:microsoft.com/office/officeart/2008/layout/HorizontalMultiLevelHierarchy"/>
    <dgm:cxn modelId="{934C0AE9-E7EC-494F-B3F3-5F1E5ACA77B2}" type="presParOf" srcId="{299D8B01-3ECB-7743-BE59-35C50BD6249A}" destId="{03DEAF18-EC72-C047-A9B4-C65BE189F02C}" srcOrd="0" destOrd="0" presId="urn:microsoft.com/office/officeart/2008/layout/HorizontalMultiLevelHierarchy"/>
    <dgm:cxn modelId="{BE093EF7-DFE7-B945-BE6A-8583F7794690}" type="presParOf" srcId="{299D8B01-3ECB-7743-BE59-35C50BD6249A}" destId="{322C5A5A-9E25-6047-BB00-4DF750E135CE}" srcOrd="1" destOrd="0" presId="urn:microsoft.com/office/officeart/2008/layout/HorizontalMultiLevelHierarchy"/>
    <dgm:cxn modelId="{23B71333-DE4C-0B4F-A074-94744B3DA78E}" type="presParOf" srcId="{322C5A5A-9E25-6047-BB00-4DF750E135CE}" destId="{393A7F55-569D-7A48-ACE0-063418018375}" srcOrd="0" destOrd="0" presId="urn:microsoft.com/office/officeart/2008/layout/HorizontalMultiLevelHierarchy"/>
    <dgm:cxn modelId="{030001E9-AD80-BD42-A8C9-DBD30E0998D7}" type="presParOf" srcId="{393A7F55-569D-7A48-ACE0-063418018375}" destId="{A635BF91-C219-EB46-A0CA-F8A2CE3D7BF3}" srcOrd="0" destOrd="0" presId="urn:microsoft.com/office/officeart/2008/layout/HorizontalMultiLevelHierarchy"/>
    <dgm:cxn modelId="{4B56F922-DAE9-7B40-8074-C406F080C887}" type="presParOf" srcId="{322C5A5A-9E25-6047-BB00-4DF750E135CE}" destId="{55918953-A6CF-814A-89F9-551623EBC010}" srcOrd="1" destOrd="0" presId="urn:microsoft.com/office/officeart/2008/layout/HorizontalMultiLevelHierarchy"/>
    <dgm:cxn modelId="{03BD3C2F-49AB-0F4F-A5B7-F7D7FB660DBC}" type="presParOf" srcId="{55918953-A6CF-814A-89F9-551623EBC010}" destId="{448042B3-2CED-424C-815C-8FD3B3AD8A39}" srcOrd="0" destOrd="0" presId="urn:microsoft.com/office/officeart/2008/layout/HorizontalMultiLevelHierarchy"/>
    <dgm:cxn modelId="{70D6A36A-77D5-8C47-8420-D10BA1150F37}" type="presParOf" srcId="{55918953-A6CF-814A-89F9-551623EBC010}" destId="{4C59A0B4-1525-104C-AAB2-E79163983336}" srcOrd="1" destOrd="0" presId="urn:microsoft.com/office/officeart/2008/layout/HorizontalMultiLevelHierarchy"/>
    <dgm:cxn modelId="{89D2BB4A-82F6-A24F-A354-30EE27FAAB0B}" type="presParOf" srcId="{322C5A5A-9E25-6047-BB00-4DF750E135CE}" destId="{64F502CF-3E90-0B4E-886C-91AB3F51938D}" srcOrd="2" destOrd="0" presId="urn:microsoft.com/office/officeart/2008/layout/HorizontalMultiLevelHierarchy"/>
    <dgm:cxn modelId="{627F4724-8163-BC42-9B5F-88CC1540A377}" type="presParOf" srcId="{64F502CF-3E90-0B4E-886C-91AB3F51938D}" destId="{6FA82A28-C585-714B-9AF5-DA995FB3DF53}" srcOrd="0" destOrd="0" presId="urn:microsoft.com/office/officeart/2008/layout/HorizontalMultiLevelHierarchy"/>
    <dgm:cxn modelId="{9B49C322-989E-BE47-869D-54BEE2AE118A}" type="presParOf" srcId="{322C5A5A-9E25-6047-BB00-4DF750E135CE}" destId="{EC8B6A62-9FAE-5045-A1A4-029DC2356DF7}" srcOrd="3" destOrd="0" presId="urn:microsoft.com/office/officeart/2008/layout/HorizontalMultiLevelHierarchy"/>
    <dgm:cxn modelId="{95BB1BC1-C557-7747-944A-C8E3B48728DC}" type="presParOf" srcId="{EC8B6A62-9FAE-5045-A1A4-029DC2356DF7}" destId="{F9B786D6-8B73-AC47-BEA7-3780A17C3E39}" srcOrd="0" destOrd="0" presId="urn:microsoft.com/office/officeart/2008/layout/HorizontalMultiLevelHierarchy"/>
    <dgm:cxn modelId="{45777B6C-9AD3-FE42-B95D-BE2B467C83E7}" type="presParOf" srcId="{EC8B6A62-9FAE-5045-A1A4-029DC2356DF7}" destId="{6E27147E-0C63-E041-AB6B-5C0E60851726}" srcOrd="1" destOrd="0" presId="urn:microsoft.com/office/officeart/2008/layout/HorizontalMultiLevelHierarchy"/>
    <dgm:cxn modelId="{323E6CE6-4283-8B4A-865E-056750E96827}" type="presParOf" srcId="{598DBB90-9C26-4C4B-AC1C-FF1827BF8D97}" destId="{60914178-E972-6747-98A5-9B1042D21399}" srcOrd="10" destOrd="0" presId="urn:microsoft.com/office/officeart/2008/layout/HorizontalMultiLevelHierarchy"/>
    <dgm:cxn modelId="{2407F871-DF90-FE4D-97C0-94F00535DC4E}" type="presParOf" srcId="{60914178-E972-6747-98A5-9B1042D21399}" destId="{03FF4E40-A0E8-E040-A52F-D68379DCC349}" srcOrd="0" destOrd="0" presId="urn:microsoft.com/office/officeart/2008/layout/HorizontalMultiLevelHierarchy"/>
    <dgm:cxn modelId="{D5C215F0-3B37-2640-B687-89C538485FA2}" type="presParOf" srcId="{598DBB90-9C26-4C4B-AC1C-FF1827BF8D97}" destId="{82D22835-936A-1D4B-AF7A-2D86C6FB8621}" srcOrd="11" destOrd="0" presId="urn:microsoft.com/office/officeart/2008/layout/HorizontalMultiLevelHierarchy"/>
    <dgm:cxn modelId="{A79F2B7F-1386-8048-9D9B-BC99D4396AE3}" type="presParOf" srcId="{82D22835-936A-1D4B-AF7A-2D86C6FB8621}" destId="{4D444EFA-484D-8B49-B53F-73AE5DAC83CB}" srcOrd="0" destOrd="0" presId="urn:microsoft.com/office/officeart/2008/layout/HorizontalMultiLevelHierarchy"/>
    <dgm:cxn modelId="{EDA98EEA-4B10-354A-98DF-EA4B0F96C159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80C78E62-C8D0-3046-BAB5-1BA0E31E7E73}" type="presOf" srcId="{26144DC7-9794-3E4B-BF8F-331E25884D5F}" destId="{921A596F-4B37-494E-B07C-17FD734C6406}" srcOrd="0" destOrd="0" presId="urn:microsoft.com/office/officeart/2008/layout/HorizontalMultiLevelHierarchy"/>
    <dgm:cxn modelId="{DADE544D-B875-0345-914F-AF97CB120FB7}" type="presOf" srcId="{BBD19103-9913-2A49-AB85-F021773D5328}" destId="{64F502CF-3E90-0B4E-886C-91AB3F51938D}" srcOrd="0" destOrd="0" presId="urn:microsoft.com/office/officeart/2008/layout/HorizontalMultiLevelHierarchy"/>
    <dgm:cxn modelId="{6B91D651-55EB-9B4F-97E2-AE9D6543CDC5}" type="presOf" srcId="{E543121D-95F7-3E47-B964-B7B948211EBC}" destId="{C9D429FE-9539-9D4A-9750-F9C781598EC4}" srcOrd="1" destOrd="0" presId="urn:microsoft.com/office/officeart/2008/layout/HorizontalMultiLevelHierarchy"/>
    <dgm:cxn modelId="{F0B8FFED-9772-614C-9AF9-2B14A85BB728}" type="presOf" srcId="{75291F63-6D2A-BA4D-9808-5F545EE4CCF0}" destId="{9FB8B136-71A7-D34F-B7EB-BD8FC5C96ECE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E2DE3B6-4C38-5949-BE71-751E921999FA}" type="presOf" srcId="{C24B2AD7-9651-4B45-A8F4-0314EA8D4874}" destId="{8AD8F429-D3CB-F748-A62E-81D3E0DD1FE1}" srcOrd="0" destOrd="0" presId="urn:microsoft.com/office/officeart/2008/layout/HorizontalMultiLevelHierarchy"/>
    <dgm:cxn modelId="{92E00E3B-DBF5-0540-B133-3428A90BA5BA}" type="presOf" srcId="{8BC59F7D-94BF-3B43-BF5D-5485F4809DAD}" destId="{756F0DD8-11FC-8647-8FC8-7AAB634C5717}" srcOrd="1" destOrd="0" presId="urn:microsoft.com/office/officeart/2008/layout/HorizontalMultiLevelHierarchy"/>
    <dgm:cxn modelId="{840B3008-C6CE-6E4B-94CF-F74674F94120}" type="presOf" srcId="{8BC59F7D-94BF-3B43-BF5D-5485F4809DAD}" destId="{6D977B4C-E88D-6044-A647-A6CC29747BE1}" srcOrd="0" destOrd="0" presId="urn:microsoft.com/office/officeart/2008/layout/HorizontalMultiLevelHierarchy"/>
    <dgm:cxn modelId="{B6C8986A-02E6-E345-A155-1D1DC8DD86AA}" type="presOf" srcId="{990267CF-EA89-A240-9514-9AFC12BBADEE}" destId="{03DEAF18-EC72-C047-A9B4-C65BE189F02C}" srcOrd="0" destOrd="0" presId="urn:microsoft.com/office/officeart/2008/layout/HorizontalMultiLevelHierarchy"/>
    <dgm:cxn modelId="{C90BA6A0-F986-4343-968D-B9B92158E84B}" type="presOf" srcId="{134C8002-4160-B046-917F-B9172D6D011E}" destId="{569810E7-365A-FB48-A979-23DA3465EF4F}" srcOrd="1" destOrd="0" presId="urn:microsoft.com/office/officeart/2008/layout/HorizontalMultiLevelHierarchy"/>
    <dgm:cxn modelId="{9EDA678C-9B6B-6241-B6D4-2465F47664BE}" type="presOf" srcId="{B8771036-12B2-D843-AA17-BB631BA3F87D}" destId="{F9B786D6-8B73-AC47-BEA7-3780A17C3E39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34879D7-13EB-8443-ADFB-8C077C8016F2}" type="presOf" srcId="{7E0C02E8-17C2-874D-B6DE-8E3A1D3437C9}" destId="{448042B3-2CED-424C-815C-8FD3B3AD8A39}" srcOrd="0" destOrd="0" presId="urn:microsoft.com/office/officeart/2008/layout/HorizontalMultiLevelHierarchy"/>
    <dgm:cxn modelId="{2705BD48-24F0-AE46-9FEF-D92969B8CEC2}" type="presOf" srcId="{174F7A28-653D-6F45-9860-935E35504EE1}" destId="{4D444EFA-484D-8B49-B53F-73AE5DAC83CB}" srcOrd="0" destOrd="0" presId="urn:microsoft.com/office/officeart/2008/layout/HorizontalMultiLevelHierarchy"/>
    <dgm:cxn modelId="{6966BCA7-E5D8-CC45-BAEC-8453D88D1F92}" type="presOf" srcId="{488E1B12-EE7C-9246-8169-00D4E05307C4}" destId="{5E781A07-1968-A143-88EC-827822313B55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77A67775-55C7-0547-ABDA-481879672588}" type="presOf" srcId="{0726F871-37F4-AB40-AF73-6656D7E9C85D}" destId="{613226CB-11A4-C549-82A6-64B9BCFE1002}" srcOrd="0" destOrd="0" presId="urn:microsoft.com/office/officeart/2008/layout/HorizontalMultiLevelHierarchy"/>
    <dgm:cxn modelId="{EEE3A549-724B-3C46-A6B8-0BEDC628E627}" type="presOf" srcId="{BBD19103-9913-2A49-AB85-F021773D5328}" destId="{6FA82A28-C585-714B-9AF5-DA995FB3DF5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7E242453-0ACC-A24B-BF86-9BBD98762BC0}" type="presOf" srcId="{134C8002-4160-B046-917F-B9172D6D011E}" destId="{33DDFCA5-CC66-CC45-A430-EDF4DA53BA93}" srcOrd="0" destOrd="0" presId="urn:microsoft.com/office/officeart/2008/layout/HorizontalMultiLevelHierarchy"/>
    <dgm:cxn modelId="{A52A56DE-750E-5340-848F-1A4439C80D39}" type="presOf" srcId="{9EB1846C-ABB5-9E44-B030-7BE73C498E59}" destId="{60914178-E972-6747-98A5-9B1042D21399}" srcOrd="0" destOrd="0" presId="urn:microsoft.com/office/officeart/2008/layout/HorizontalMultiLevelHierarchy"/>
    <dgm:cxn modelId="{6306E5C9-3561-694C-8A90-C97160F7A50E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823837F5-7674-8548-BAA9-1D60B528CB04}" type="presOf" srcId="{C0976C3D-B466-7D45-ABFB-2E3685B2F19C}" destId="{D35EA19E-870C-2F44-A620-E6B51FB20589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F5ED5546-7FB8-9C48-9703-1A419F977800}" type="presOf" srcId="{78A64519-4827-364C-A275-D5C68A949ADD}" destId="{33CE7315-72E8-4545-9EC6-56F4D0BEC64D}" srcOrd="0" destOrd="0" presId="urn:microsoft.com/office/officeart/2008/layout/HorizontalMultiLevelHierarchy"/>
    <dgm:cxn modelId="{8A6C40FA-98E5-1046-9CC3-D6461AC6EB47}" type="presOf" srcId="{436C1B23-A07F-9344-ADAB-98173723FB7F}" destId="{B541F6A1-B2AA-7447-8E11-AC7AA5D5D50B}" srcOrd="0" destOrd="0" presId="urn:microsoft.com/office/officeart/2008/layout/HorizontalMultiLevelHierarchy"/>
    <dgm:cxn modelId="{CD61C809-D758-D14C-B9BE-FF926D140C25}" type="presOf" srcId="{63D1AE09-4F57-A443-A1FD-2A3034962097}" destId="{04D949B2-6FA5-4948-B335-DDA85E4E65B1}" srcOrd="1" destOrd="0" presId="urn:microsoft.com/office/officeart/2008/layout/HorizontalMultiLevelHierarchy"/>
    <dgm:cxn modelId="{8583BDD2-909A-EA4A-9082-DCA261A75A9F}" type="presOf" srcId="{63D1AE09-4F57-A443-A1FD-2A3034962097}" destId="{B7A5E06F-5B4B-C947-BFA6-C1FA5998CE54}" srcOrd="0" destOrd="0" presId="urn:microsoft.com/office/officeart/2008/layout/HorizontalMultiLevelHierarchy"/>
    <dgm:cxn modelId="{EBA49E63-04CE-0146-A5EE-574942AC3ADE}" type="presOf" srcId="{B64CCDD1-81AB-5245-B99A-E87DB05674D4}" destId="{3C43B809-8F2F-3641-8339-1043D47661D7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DF33597D-A26E-5A47-93CA-B54191D661F7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B4D2501-1543-9D48-AB63-3F79756EC57D}" type="presOf" srcId="{5E2A7D5A-EFB6-9C4F-A960-3D6903C39497}" destId="{E59B7B1E-3287-FB43-A405-2A84667315EC}" srcOrd="1" destOrd="0" presId="urn:microsoft.com/office/officeart/2008/layout/HorizontalMultiLevelHierarchy"/>
    <dgm:cxn modelId="{61FEB12B-96E2-564E-81C9-CC34782935C5}" type="presOf" srcId="{6577C284-4D20-2C4A-88D4-29EB6FEAC9C2}" destId="{348A166D-A55E-9147-99A1-FB87A4CF61A8}" srcOrd="1" destOrd="0" presId="urn:microsoft.com/office/officeart/2008/layout/HorizontalMultiLevelHierarchy"/>
    <dgm:cxn modelId="{2ED23E73-5AAE-374E-ABA1-C6E45D3115F4}" type="presOf" srcId="{E543121D-95F7-3E47-B964-B7B948211EBC}" destId="{2C1F9B08-4495-8146-8974-2654E99B2E9A}" srcOrd="0" destOrd="0" presId="urn:microsoft.com/office/officeart/2008/layout/HorizontalMultiLevelHierarchy"/>
    <dgm:cxn modelId="{A3DB8569-7B21-6F46-BEF6-D7DFB3B94EF7}" type="presOf" srcId="{EF2BFDE9-4D1F-3049-B62C-65BE59459C50}" destId="{5167760A-1265-4C43-B02A-4A72B3B39F5E}" srcOrd="0" destOrd="0" presId="urn:microsoft.com/office/officeart/2008/layout/HorizontalMultiLevelHierarchy"/>
    <dgm:cxn modelId="{0211849A-03DC-104B-965C-C2E06D17846E}" type="presOf" srcId="{436C1B23-A07F-9344-ADAB-98173723FB7F}" destId="{0637CC4E-4D30-724B-9FFD-C7AED88FB068}" srcOrd="1" destOrd="0" presId="urn:microsoft.com/office/officeart/2008/layout/HorizontalMultiLevelHierarchy"/>
    <dgm:cxn modelId="{81933FFB-26EA-5443-8F77-CDA5EFD29180}" type="presOf" srcId="{859769CA-042B-6244-840F-75AE1403619A}" destId="{4E546A01-1907-BB4F-B534-4E81DE6081F4}" srcOrd="0" destOrd="0" presId="urn:microsoft.com/office/officeart/2008/layout/HorizontalMultiLevelHierarchy"/>
    <dgm:cxn modelId="{B341A076-ECCF-124F-AEA0-D1F55396B5A6}" type="presOf" srcId="{C24B2AD7-9651-4B45-A8F4-0314EA8D4874}" destId="{27DD3461-0240-774A-8774-CC1A00541B61}" srcOrd="1" destOrd="0" presId="urn:microsoft.com/office/officeart/2008/layout/HorizontalMultiLevelHierarchy"/>
    <dgm:cxn modelId="{40534AC5-6BC0-C941-86D1-03D8647156D3}" type="presOf" srcId="{5E2A7D5A-EFB6-9C4F-A960-3D6903C39497}" destId="{1442578F-E924-E34F-9FA5-3F4C2CF65BC9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C2A08E25-4F48-664F-9AA9-4C16B213B248}" type="presOf" srcId="{08733529-A5F0-F14D-8E75-74214329B040}" destId="{A635BF91-C219-EB46-A0CA-F8A2CE3D7BF3}" srcOrd="1" destOrd="0" presId="urn:microsoft.com/office/officeart/2008/layout/HorizontalMultiLevelHierarchy"/>
    <dgm:cxn modelId="{C04D02DF-338C-DF45-9217-DAA6573FF3BC}" type="presOf" srcId="{08733529-A5F0-F14D-8E75-74214329B040}" destId="{393A7F55-569D-7A48-ACE0-06341801837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4BBC2DC-2697-3F42-9337-C7DDC5B1D2C3}" type="presOf" srcId="{BA9C693C-1CF5-6E4E-A8C4-1E304AFD6DF5}" destId="{99E936FD-8649-9640-96D2-9202E1CEC417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ADA38F75-D8C2-8946-8F2D-A6BC5C8CB24A}" type="presOf" srcId="{6577C284-4D20-2C4A-88D4-29EB6FEAC9C2}" destId="{A3F719CD-4C36-CF49-B90F-B8B40A2B29DE}" srcOrd="0" destOrd="0" presId="urn:microsoft.com/office/officeart/2008/layout/HorizontalMultiLevelHierarchy"/>
    <dgm:cxn modelId="{82D6383E-C5A9-2848-9FD7-0371AC07A53B}" type="presOf" srcId="{9EB1846C-ABB5-9E44-B030-7BE73C498E59}" destId="{03FF4E40-A0E8-E040-A52F-D68379DCC349}" srcOrd="1" destOrd="0" presId="urn:microsoft.com/office/officeart/2008/layout/HorizontalMultiLevelHierarchy"/>
    <dgm:cxn modelId="{210D4F46-3BCB-C949-AE3C-2D2BA8272FC0}" type="presParOf" srcId="{613226CB-11A4-C549-82A6-64B9BCFE1002}" destId="{3BA40406-1E55-1642-A22A-B49F5A173AC8}" srcOrd="0" destOrd="0" presId="urn:microsoft.com/office/officeart/2008/layout/HorizontalMultiLevelHierarchy"/>
    <dgm:cxn modelId="{D1D20F44-827F-4F44-9AF2-EABE850908BF}" type="presParOf" srcId="{3BA40406-1E55-1642-A22A-B49F5A173AC8}" destId="{99E936FD-8649-9640-96D2-9202E1CEC417}" srcOrd="0" destOrd="0" presId="urn:microsoft.com/office/officeart/2008/layout/HorizontalMultiLevelHierarchy"/>
    <dgm:cxn modelId="{9650A2B2-AB9D-DE4A-9DD7-688C1AA69B5D}" type="presParOf" srcId="{3BA40406-1E55-1642-A22A-B49F5A173AC8}" destId="{598DBB90-9C26-4C4B-AC1C-FF1827BF8D97}" srcOrd="1" destOrd="0" presId="urn:microsoft.com/office/officeart/2008/layout/HorizontalMultiLevelHierarchy"/>
    <dgm:cxn modelId="{0833128E-BC30-8143-971C-2B570C06BEE4}" type="presParOf" srcId="{598DBB90-9C26-4C4B-AC1C-FF1827BF8D97}" destId="{D778007E-9974-2C41-910F-E1E5562B090A}" srcOrd="0" destOrd="0" presId="urn:microsoft.com/office/officeart/2008/layout/HorizontalMultiLevelHierarchy"/>
    <dgm:cxn modelId="{82E52ED5-675B-184B-A46E-1FDB4535DE50}" type="presParOf" srcId="{D778007E-9974-2C41-910F-E1E5562B090A}" destId="{AB33012A-8C54-6245-96E8-E0111C081E33}" srcOrd="0" destOrd="0" presId="urn:microsoft.com/office/officeart/2008/layout/HorizontalMultiLevelHierarchy"/>
    <dgm:cxn modelId="{D737E138-B286-C94E-A084-EC005A880CEA}" type="presParOf" srcId="{598DBB90-9C26-4C4B-AC1C-FF1827BF8D97}" destId="{BCA6FE17-8DB6-0242-A6E4-C7D3971EBD97}" srcOrd="1" destOrd="0" presId="urn:microsoft.com/office/officeart/2008/layout/HorizontalMultiLevelHierarchy"/>
    <dgm:cxn modelId="{842B5AEA-B03A-784E-A523-DF08917604BC}" type="presParOf" srcId="{BCA6FE17-8DB6-0242-A6E4-C7D3971EBD97}" destId="{5E781A07-1968-A143-88EC-827822313B55}" srcOrd="0" destOrd="0" presId="urn:microsoft.com/office/officeart/2008/layout/HorizontalMultiLevelHierarchy"/>
    <dgm:cxn modelId="{DFE3656E-FE88-124E-AC59-65EF982A9329}" type="presParOf" srcId="{BCA6FE17-8DB6-0242-A6E4-C7D3971EBD97}" destId="{BDDED42C-20CE-EF4E-85AA-7830E9428B23}" srcOrd="1" destOrd="0" presId="urn:microsoft.com/office/officeart/2008/layout/HorizontalMultiLevelHierarchy"/>
    <dgm:cxn modelId="{8EFC4BEB-C03A-2E45-B0C9-04F19102FFFB}" type="presParOf" srcId="{598DBB90-9C26-4C4B-AC1C-FF1827BF8D97}" destId="{B7A5E06F-5B4B-C947-BFA6-C1FA5998CE54}" srcOrd="2" destOrd="0" presId="urn:microsoft.com/office/officeart/2008/layout/HorizontalMultiLevelHierarchy"/>
    <dgm:cxn modelId="{4508A149-38DC-0A42-9CC3-22FCF98CDE7D}" type="presParOf" srcId="{B7A5E06F-5B4B-C947-BFA6-C1FA5998CE54}" destId="{04D949B2-6FA5-4948-B335-DDA85E4E65B1}" srcOrd="0" destOrd="0" presId="urn:microsoft.com/office/officeart/2008/layout/HorizontalMultiLevelHierarchy"/>
    <dgm:cxn modelId="{8B467626-B544-1349-AACD-91CCA9481CBB}" type="presParOf" srcId="{598DBB90-9C26-4C4B-AC1C-FF1827BF8D97}" destId="{5B0B9041-BDB4-7141-9957-0BEAFB33AEFE}" srcOrd="3" destOrd="0" presId="urn:microsoft.com/office/officeart/2008/layout/HorizontalMultiLevelHierarchy"/>
    <dgm:cxn modelId="{D6B7A656-0740-7A4F-8AB8-0218119D33C3}" type="presParOf" srcId="{5B0B9041-BDB4-7141-9957-0BEAFB33AEFE}" destId="{D35EA19E-870C-2F44-A620-E6B51FB20589}" srcOrd="0" destOrd="0" presId="urn:microsoft.com/office/officeart/2008/layout/HorizontalMultiLevelHierarchy"/>
    <dgm:cxn modelId="{D472FC0A-1CA3-BB47-BD94-037280BB8B7D}" type="presParOf" srcId="{5B0B9041-BDB4-7141-9957-0BEAFB33AEFE}" destId="{62348515-9687-1045-ADA1-3184EC8CEC61}" srcOrd="1" destOrd="0" presId="urn:microsoft.com/office/officeart/2008/layout/HorizontalMultiLevelHierarchy"/>
    <dgm:cxn modelId="{153AE9B7-BDBA-0646-A834-7CB68E091F1F}" type="presParOf" srcId="{62348515-9687-1045-ADA1-3184EC8CEC61}" destId="{B541F6A1-B2AA-7447-8E11-AC7AA5D5D50B}" srcOrd="0" destOrd="0" presId="urn:microsoft.com/office/officeart/2008/layout/HorizontalMultiLevelHierarchy"/>
    <dgm:cxn modelId="{554DFD39-3302-0546-AA6E-AB042D8DBC84}" type="presParOf" srcId="{B541F6A1-B2AA-7447-8E11-AC7AA5D5D50B}" destId="{0637CC4E-4D30-724B-9FFD-C7AED88FB068}" srcOrd="0" destOrd="0" presId="urn:microsoft.com/office/officeart/2008/layout/HorizontalMultiLevelHierarchy"/>
    <dgm:cxn modelId="{2B4C9B90-6DEC-2C42-B900-9F0173EF5EE3}" type="presParOf" srcId="{62348515-9687-1045-ADA1-3184EC8CEC61}" destId="{CA3C244E-E149-0742-ACEF-44B7ECE83631}" srcOrd="1" destOrd="0" presId="urn:microsoft.com/office/officeart/2008/layout/HorizontalMultiLevelHierarchy"/>
    <dgm:cxn modelId="{826EF51C-271A-A54D-AD81-D75B85DB6107}" type="presParOf" srcId="{CA3C244E-E149-0742-ACEF-44B7ECE83631}" destId="{9FB8B136-71A7-D34F-B7EB-BD8FC5C96ECE}" srcOrd="0" destOrd="0" presId="urn:microsoft.com/office/officeart/2008/layout/HorizontalMultiLevelHierarchy"/>
    <dgm:cxn modelId="{236F7C74-E506-354D-A316-655E548E7762}" type="presParOf" srcId="{CA3C244E-E149-0742-ACEF-44B7ECE83631}" destId="{9B46DB51-FCC5-AC41-BECD-E28037B564D0}" srcOrd="1" destOrd="0" presId="urn:microsoft.com/office/officeart/2008/layout/HorizontalMultiLevelHierarchy"/>
    <dgm:cxn modelId="{D6307C3B-8CA0-7343-B7F9-384D952D894F}" type="presParOf" srcId="{62348515-9687-1045-ADA1-3184EC8CEC61}" destId="{2C1F9B08-4495-8146-8974-2654E99B2E9A}" srcOrd="2" destOrd="0" presId="urn:microsoft.com/office/officeart/2008/layout/HorizontalMultiLevelHierarchy"/>
    <dgm:cxn modelId="{B05EBA21-8134-A34E-851A-58A8B2297087}" type="presParOf" srcId="{2C1F9B08-4495-8146-8974-2654E99B2E9A}" destId="{C9D429FE-9539-9D4A-9750-F9C781598EC4}" srcOrd="0" destOrd="0" presId="urn:microsoft.com/office/officeart/2008/layout/HorizontalMultiLevelHierarchy"/>
    <dgm:cxn modelId="{06F95F42-524E-2C4E-A258-C3CB9A270E63}" type="presParOf" srcId="{62348515-9687-1045-ADA1-3184EC8CEC61}" destId="{7F107BC0-209A-4C42-BEA6-B6817D5C9E09}" srcOrd="3" destOrd="0" presId="urn:microsoft.com/office/officeart/2008/layout/HorizontalMultiLevelHierarchy"/>
    <dgm:cxn modelId="{91ABD6A0-6074-8249-A4B4-F026CC1806B8}" type="presParOf" srcId="{7F107BC0-209A-4C42-BEA6-B6817D5C9E09}" destId="{4E546A01-1907-BB4F-B534-4E81DE6081F4}" srcOrd="0" destOrd="0" presId="urn:microsoft.com/office/officeart/2008/layout/HorizontalMultiLevelHierarchy"/>
    <dgm:cxn modelId="{2082D3BE-CC3B-C746-B766-313B7324BC7B}" type="presParOf" srcId="{7F107BC0-209A-4C42-BEA6-B6817D5C9E09}" destId="{F5393339-32D0-CE4B-9AAA-4B6A114FA39A}" srcOrd="1" destOrd="0" presId="urn:microsoft.com/office/officeart/2008/layout/HorizontalMultiLevelHierarchy"/>
    <dgm:cxn modelId="{8907509D-64AE-C341-BE5D-A9BCE4BC982F}" type="presParOf" srcId="{62348515-9687-1045-ADA1-3184EC8CEC61}" destId="{6D977B4C-E88D-6044-A647-A6CC29747BE1}" srcOrd="4" destOrd="0" presId="urn:microsoft.com/office/officeart/2008/layout/HorizontalMultiLevelHierarchy"/>
    <dgm:cxn modelId="{D5D2489A-63FA-FE41-8AF2-BA5AAAA4A49E}" type="presParOf" srcId="{6D977B4C-E88D-6044-A647-A6CC29747BE1}" destId="{756F0DD8-11FC-8647-8FC8-7AAB634C5717}" srcOrd="0" destOrd="0" presId="urn:microsoft.com/office/officeart/2008/layout/HorizontalMultiLevelHierarchy"/>
    <dgm:cxn modelId="{7F88D624-41AF-674C-B909-D6B5B8CA5FC8}" type="presParOf" srcId="{62348515-9687-1045-ADA1-3184EC8CEC61}" destId="{BAA197B9-40F5-1D46-A384-973DDEA5160C}" srcOrd="5" destOrd="0" presId="urn:microsoft.com/office/officeart/2008/layout/HorizontalMultiLevelHierarchy"/>
    <dgm:cxn modelId="{5D3D9637-594F-744F-93E6-B201F295E6B5}" type="presParOf" srcId="{BAA197B9-40F5-1D46-A384-973DDEA5160C}" destId="{3C43B809-8F2F-3641-8339-1043D47661D7}" srcOrd="0" destOrd="0" presId="urn:microsoft.com/office/officeart/2008/layout/HorizontalMultiLevelHierarchy"/>
    <dgm:cxn modelId="{D40D3486-1445-3345-9321-9C01E07EE6FB}" type="presParOf" srcId="{BAA197B9-40F5-1D46-A384-973DDEA5160C}" destId="{F59926D0-D2AF-8940-B86B-A1820706A34B}" srcOrd="1" destOrd="0" presId="urn:microsoft.com/office/officeart/2008/layout/HorizontalMultiLevelHierarchy"/>
    <dgm:cxn modelId="{3D3CE38D-B3BC-F744-BB55-0094AC157CFB}" type="presParOf" srcId="{598DBB90-9C26-4C4B-AC1C-FF1827BF8D97}" destId="{1442578F-E924-E34F-9FA5-3F4C2CF65BC9}" srcOrd="4" destOrd="0" presId="urn:microsoft.com/office/officeart/2008/layout/HorizontalMultiLevelHierarchy"/>
    <dgm:cxn modelId="{68E8C22D-5EAF-1A41-BC70-F1522E1B5C07}" type="presParOf" srcId="{1442578F-E924-E34F-9FA5-3F4C2CF65BC9}" destId="{E59B7B1E-3287-FB43-A405-2A84667315EC}" srcOrd="0" destOrd="0" presId="urn:microsoft.com/office/officeart/2008/layout/HorizontalMultiLevelHierarchy"/>
    <dgm:cxn modelId="{3DB34D8B-4BF4-7F43-BDA3-21367B4A87A7}" type="presParOf" srcId="{598DBB90-9C26-4C4B-AC1C-FF1827BF8D97}" destId="{6188AF91-8F5E-7F4E-A0A2-13FA32167F53}" srcOrd="5" destOrd="0" presId="urn:microsoft.com/office/officeart/2008/layout/HorizontalMultiLevelHierarchy"/>
    <dgm:cxn modelId="{9A87C5A2-C8A4-854B-A219-F7A1741527F7}" type="presParOf" srcId="{6188AF91-8F5E-7F4E-A0A2-13FA32167F53}" destId="{5167760A-1265-4C43-B02A-4A72B3B39F5E}" srcOrd="0" destOrd="0" presId="urn:microsoft.com/office/officeart/2008/layout/HorizontalMultiLevelHierarchy"/>
    <dgm:cxn modelId="{100E49F9-2F20-D749-B594-57253AE5684F}" type="presParOf" srcId="{6188AF91-8F5E-7F4E-A0A2-13FA32167F53}" destId="{21F2C295-F343-AC4A-8BE2-CFD4DAC170AE}" srcOrd="1" destOrd="0" presId="urn:microsoft.com/office/officeart/2008/layout/HorizontalMultiLevelHierarchy"/>
    <dgm:cxn modelId="{2B95A26A-532F-E84C-9730-22B0EF71F335}" type="presParOf" srcId="{598DBB90-9C26-4C4B-AC1C-FF1827BF8D97}" destId="{A3F719CD-4C36-CF49-B90F-B8B40A2B29DE}" srcOrd="6" destOrd="0" presId="urn:microsoft.com/office/officeart/2008/layout/HorizontalMultiLevelHierarchy"/>
    <dgm:cxn modelId="{74EF6ACC-FCE9-2540-99A9-9F1DB77186F6}" type="presParOf" srcId="{A3F719CD-4C36-CF49-B90F-B8B40A2B29DE}" destId="{348A166D-A55E-9147-99A1-FB87A4CF61A8}" srcOrd="0" destOrd="0" presId="urn:microsoft.com/office/officeart/2008/layout/HorizontalMultiLevelHierarchy"/>
    <dgm:cxn modelId="{1C5C6FDC-B21A-0148-9A80-420BA1389163}" type="presParOf" srcId="{598DBB90-9C26-4C4B-AC1C-FF1827BF8D97}" destId="{175E4F2C-D898-EE44-A4E7-79846E237DB4}" srcOrd="7" destOrd="0" presId="urn:microsoft.com/office/officeart/2008/layout/HorizontalMultiLevelHierarchy"/>
    <dgm:cxn modelId="{BE090624-D18D-9A40-A11A-5D869ED639DF}" type="presParOf" srcId="{175E4F2C-D898-EE44-A4E7-79846E237DB4}" destId="{921A596F-4B37-494E-B07C-17FD734C6406}" srcOrd="0" destOrd="0" presId="urn:microsoft.com/office/officeart/2008/layout/HorizontalMultiLevelHierarchy"/>
    <dgm:cxn modelId="{1C26B0C2-FC24-BE42-B4BB-AC9B4DF8273E}" type="presParOf" srcId="{175E4F2C-D898-EE44-A4E7-79846E237DB4}" destId="{A9D518F9-DAB2-4E45-9ECB-39AA13A01564}" srcOrd="1" destOrd="0" presId="urn:microsoft.com/office/officeart/2008/layout/HorizontalMultiLevelHierarchy"/>
    <dgm:cxn modelId="{620E2009-E65E-4F41-8328-B8D7DEBD582D}" type="presParOf" srcId="{A9D518F9-DAB2-4E45-9ECB-39AA13A01564}" destId="{8AD8F429-D3CB-F748-A62E-81D3E0DD1FE1}" srcOrd="0" destOrd="0" presId="urn:microsoft.com/office/officeart/2008/layout/HorizontalMultiLevelHierarchy"/>
    <dgm:cxn modelId="{4EDB6EA1-BBBA-7847-928C-EC8AAAD0B07C}" type="presParOf" srcId="{8AD8F429-D3CB-F748-A62E-81D3E0DD1FE1}" destId="{27DD3461-0240-774A-8774-CC1A00541B61}" srcOrd="0" destOrd="0" presId="urn:microsoft.com/office/officeart/2008/layout/HorizontalMultiLevelHierarchy"/>
    <dgm:cxn modelId="{52FB52A6-0967-8047-946F-DE432B8327AD}" type="presParOf" srcId="{A9D518F9-DAB2-4E45-9ECB-39AA13A01564}" destId="{11FBA7F4-3D95-3448-9648-3CEA03AB03A5}" srcOrd="1" destOrd="0" presId="urn:microsoft.com/office/officeart/2008/layout/HorizontalMultiLevelHierarchy"/>
    <dgm:cxn modelId="{E1C9AB60-5BE3-854B-9B1D-137E903D7EC6}" type="presParOf" srcId="{11FBA7F4-3D95-3448-9648-3CEA03AB03A5}" destId="{33CE7315-72E8-4545-9EC6-56F4D0BEC64D}" srcOrd="0" destOrd="0" presId="urn:microsoft.com/office/officeart/2008/layout/HorizontalMultiLevelHierarchy"/>
    <dgm:cxn modelId="{D3D9B726-93A8-9946-83ED-8E14045C86BC}" type="presParOf" srcId="{11FBA7F4-3D95-3448-9648-3CEA03AB03A5}" destId="{F94ACA84-3A4A-0541-929E-9401CD7FB410}" srcOrd="1" destOrd="0" presId="urn:microsoft.com/office/officeart/2008/layout/HorizontalMultiLevelHierarchy"/>
    <dgm:cxn modelId="{B389F04B-9FA7-744B-A5AB-B83F9441DA1F}" type="presParOf" srcId="{598DBB90-9C26-4C4B-AC1C-FF1827BF8D97}" destId="{33DDFCA5-CC66-CC45-A430-EDF4DA53BA93}" srcOrd="8" destOrd="0" presId="urn:microsoft.com/office/officeart/2008/layout/HorizontalMultiLevelHierarchy"/>
    <dgm:cxn modelId="{25B76761-FA1B-BD46-8677-3E13731477DE}" type="presParOf" srcId="{33DDFCA5-CC66-CC45-A430-EDF4DA53BA93}" destId="{569810E7-365A-FB48-A979-23DA3465EF4F}" srcOrd="0" destOrd="0" presId="urn:microsoft.com/office/officeart/2008/layout/HorizontalMultiLevelHierarchy"/>
    <dgm:cxn modelId="{46560DF2-B1A7-A148-8D15-3009B0558884}" type="presParOf" srcId="{598DBB90-9C26-4C4B-AC1C-FF1827BF8D97}" destId="{299D8B01-3ECB-7743-BE59-35C50BD6249A}" srcOrd="9" destOrd="0" presId="urn:microsoft.com/office/officeart/2008/layout/HorizontalMultiLevelHierarchy"/>
    <dgm:cxn modelId="{54C81C9B-52D3-B041-A72F-9A0BCB5109F6}" type="presParOf" srcId="{299D8B01-3ECB-7743-BE59-35C50BD6249A}" destId="{03DEAF18-EC72-C047-A9B4-C65BE189F02C}" srcOrd="0" destOrd="0" presId="urn:microsoft.com/office/officeart/2008/layout/HorizontalMultiLevelHierarchy"/>
    <dgm:cxn modelId="{C745A61E-5587-054F-98AE-9520E3069984}" type="presParOf" srcId="{299D8B01-3ECB-7743-BE59-35C50BD6249A}" destId="{322C5A5A-9E25-6047-BB00-4DF750E135CE}" srcOrd="1" destOrd="0" presId="urn:microsoft.com/office/officeart/2008/layout/HorizontalMultiLevelHierarchy"/>
    <dgm:cxn modelId="{A8CD53F7-3E75-B84B-A821-41847CAF8D70}" type="presParOf" srcId="{322C5A5A-9E25-6047-BB00-4DF750E135CE}" destId="{393A7F55-569D-7A48-ACE0-063418018375}" srcOrd="0" destOrd="0" presId="urn:microsoft.com/office/officeart/2008/layout/HorizontalMultiLevelHierarchy"/>
    <dgm:cxn modelId="{9BF82124-3E8D-5847-8621-AE5177B3FBBB}" type="presParOf" srcId="{393A7F55-569D-7A48-ACE0-063418018375}" destId="{A635BF91-C219-EB46-A0CA-F8A2CE3D7BF3}" srcOrd="0" destOrd="0" presId="urn:microsoft.com/office/officeart/2008/layout/HorizontalMultiLevelHierarchy"/>
    <dgm:cxn modelId="{4C949B56-A263-DE41-9BB6-0A1D097CD3B4}" type="presParOf" srcId="{322C5A5A-9E25-6047-BB00-4DF750E135CE}" destId="{55918953-A6CF-814A-89F9-551623EBC010}" srcOrd="1" destOrd="0" presId="urn:microsoft.com/office/officeart/2008/layout/HorizontalMultiLevelHierarchy"/>
    <dgm:cxn modelId="{9DB749EE-21A6-9E47-AADB-887E28FEA78A}" type="presParOf" srcId="{55918953-A6CF-814A-89F9-551623EBC010}" destId="{448042B3-2CED-424C-815C-8FD3B3AD8A39}" srcOrd="0" destOrd="0" presId="urn:microsoft.com/office/officeart/2008/layout/HorizontalMultiLevelHierarchy"/>
    <dgm:cxn modelId="{998F3CA7-C566-DB41-85F0-5E7CC944E385}" type="presParOf" srcId="{55918953-A6CF-814A-89F9-551623EBC010}" destId="{4C59A0B4-1525-104C-AAB2-E79163983336}" srcOrd="1" destOrd="0" presId="urn:microsoft.com/office/officeart/2008/layout/HorizontalMultiLevelHierarchy"/>
    <dgm:cxn modelId="{EEB467FC-507A-6743-9F03-91BA2A57C99B}" type="presParOf" srcId="{322C5A5A-9E25-6047-BB00-4DF750E135CE}" destId="{64F502CF-3E90-0B4E-886C-91AB3F51938D}" srcOrd="2" destOrd="0" presId="urn:microsoft.com/office/officeart/2008/layout/HorizontalMultiLevelHierarchy"/>
    <dgm:cxn modelId="{BAB8DA88-23AC-6548-A667-B8DC4FB5347B}" type="presParOf" srcId="{64F502CF-3E90-0B4E-886C-91AB3F51938D}" destId="{6FA82A28-C585-714B-9AF5-DA995FB3DF53}" srcOrd="0" destOrd="0" presId="urn:microsoft.com/office/officeart/2008/layout/HorizontalMultiLevelHierarchy"/>
    <dgm:cxn modelId="{9E10FD48-6CF4-0D4D-A472-E09623B7E6CA}" type="presParOf" srcId="{322C5A5A-9E25-6047-BB00-4DF750E135CE}" destId="{EC8B6A62-9FAE-5045-A1A4-029DC2356DF7}" srcOrd="3" destOrd="0" presId="urn:microsoft.com/office/officeart/2008/layout/HorizontalMultiLevelHierarchy"/>
    <dgm:cxn modelId="{45F94B74-1F52-0B4D-BD77-BF35DFA0DA02}" type="presParOf" srcId="{EC8B6A62-9FAE-5045-A1A4-029DC2356DF7}" destId="{F9B786D6-8B73-AC47-BEA7-3780A17C3E39}" srcOrd="0" destOrd="0" presId="urn:microsoft.com/office/officeart/2008/layout/HorizontalMultiLevelHierarchy"/>
    <dgm:cxn modelId="{09551A64-6272-F749-9AA4-0A53F3E9097D}" type="presParOf" srcId="{EC8B6A62-9FAE-5045-A1A4-029DC2356DF7}" destId="{6E27147E-0C63-E041-AB6B-5C0E60851726}" srcOrd="1" destOrd="0" presId="urn:microsoft.com/office/officeart/2008/layout/HorizontalMultiLevelHierarchy"/>
    <dgm:cxn modelId="{6CCBC749-9501-3146-87C1-4A85B60D3E6B}" type="presParOf" srcId="{598DBB90-9C26-4C4B-AC1C-FF1827BF8D97}" destId="{60914178-E972-6747-98A5-9B1042D21399}" srcOrd="10" destOrd="0" presId="urn:microsoft.com/office/officeart/2008/layout/HorizontalMultiLevelHierarchy"/>
    <dgm:cxn modelId="{B36CB854-81F7-174A-964E-383A3828F4B0}" type="presParOf" srcId="{60914178-E972-6747-98A5-9B1042D21399}" destId="{03FF4E40-A0E8-E040-A52F-D68379DCC349}" srcOrd="0" destOrd="0" presId="urn:microsoft.com/office/officeart/2008/layout/HorizontalMultiLevelHierarchy"/>
    <dgm:cxn modelId="{73A8FE6F-C160-6B41-B0CE-D664865ADB06}" type="presParOf" srcId="{598DBB90-9C26-4C4B-AC1C-FF1827BF8D97}" destId="{82D22835-936A-1D4B-AF7A-2D86C6FB8621}" srcOrd="11" destOrd="0" presId="urn:microsoft.com/office/officeart/2008/layout/HorizontalMultiLevelHierarchy"/>
    <dgm:cxn modelId="{4AF7B3BB-13CE-9245-B7B0-BA39235F83A5}" type="presParOf" srcId="{82D22835-936A-1D4B-AF7A-2D86C6FB8621}" destId="{4D444EFA-484D-8B49-B53F-73AE5DAC83CB}" srcOrd="0" destOrd="0" presId="urn:microsoft.com/office/officeart/2008/layout/HorizontalMultiLevelHierarchy"/>
    <dgm:cxn modelId="{EAA5E223-0246-C94D-9E75-6FEC8AB9A612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618B635B-3243-9D45-B7C8-3DE23C8C0215}" type="presOf" srcId="{0726F871-37F4-AB40-AF73-6656D7E9C85D}" destId="{613226CB-11A4-C549-82A6-64B9BCFE1002}" srcOrd="0" destOrd="0" presId="urn:microsoft.com/office/officeart/2008/layout/HorizontalMultiLevelHierarchy"/>
    <dgm:cxn modelId="{996BB855-02A6-704A-84F1-641C021DBDCC}" type="presOf" srcId="{73DD7058-02B4-D24C-9D13-AF75375EF8E6}" destId="{12E46C15-0F90-7843-8745-7EFB583D5A38}" srcOrd="1" destOrd="0" presId="urn:microsoft.com/office/officeart/2008/layout/HorizontalMultiLevelHierarchy"/>
    <dgm:cxn modelId="{AD363C44-CDF3-3842-ABCF-769A9BD482EF}" type="presOf" srcId="{11D7D97A-F1CC-6A49-92BA-1094CF9B8EE3}" destId="{84732D04-01E1-2742-A082-1195BCDCDEC2}" srcOrd="0" destOrd="0" presId="urn:microsoft.com/office/officeart/2008/layout/HorizontalMultiLevelHierarchy"/>
    <dgm:cxn modelId="{F56EF568-E82F-C24E-9BAB-978431AA603D}" type="presOf" srcId="{90FBF026-5068-6043-A75B-344D047E346D}" destId="{2242491C-75CB-654B-ABCA-74AF8E25B4E8}" srcOrd="0" destOrd="0" presId="urn:microsoft.com/office/officeart/2008/layout/HorizontalMultiLevelHierarchy"/>
    <dgm:cxn modelId="{44B1EE46-CEFD-A84B-93D7-B3AF803BE4B3}" type="presOf" srcId="{174F7A28-653D-6F45-9860-935E35504EE1}" destId="{4D444EFA-484D-8B49-B53F-73AE5DAC83CB}" srcOrd="0" destOrd="0" presId="urn:microsoft.com/office/officeart/2008/layout/HorizontalMultiLevelHierarchy"/>
    <dgm:cxn modelId="{4322A18F-A2DA-1D47-9572-FA95F06987D7}" type="presOf" srcId="{B4B50EEB-1538-DF45-B07F-7D0FD83C8ED3}" destId="{91975744-72FE-E947-98E3-ECF3B2E7C3DC}" srcOrd="0" destOrd="0" presId="urn:microsoft.com/office/officeart/2008/layout/HorizontalMultiLevelHierarchy"/>
    <dgm:cxn modelId="{28195C8C-C4DB-5345-ABAF-2C1A543E0C8D}" type="presOf" srcId="{BBD19103-9913-2A49-AB85-F021773D5328}" destId="{6FA82A28-C585-714B-9AF5-DA995FB3DF53}" srcOrd="1" destOrd="0" presId="urn:microsoft.com/office/officeart/2008/layout/HorizontalMultiLevelHierarchy"/>
    <dgm:cxn modelId="{BD303E5A-FDF7-8E45-B8AD-CF1BD62261C0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AF02CBA-66E4-314B-BF78-EB256638416F}" type="presOf" srcId="{B3C905E3-C669-9942-AEC9-21A47474CEB4}" destId="{DB79995B-B315-9C4C-BCA0-97AF2CF960CD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3FEAB52D-DB9C-C848-9EF0-8CC180B39087}" type="presOf" srcId="{8B212141-5DD9-384A-A240-561E72DAAF7B}" destId="{21C89BDE-E13D-974B-B17D-6B6CDBB2C8DB}" srcOrd="0" destOrd="0" presId="urn:microsoft.com/office/officeart/2008/layout/HorizontalMultiLevelHierarchy"/>
    <dgm:cxn modelId="{1A30B76C-7C7F-794D-B491-DA7A6BDC2A21}" type="presOf" srcId="{990267CF-EA89-A240-9514-9AFC12BBADEE}" destId="{03DEAF18-EC72-C047-A9B4-C65BE189F02C}" srcOrd="0" destOrd="0" presId="urn:microsoft.com/office/officeart/2008/layout/HorizontalMultiLevelHierarchy"/>
    <dgm:cxn modelId="{03CB910B-E587-A34C-8213-A4EB777A8ABE}" type="presOf" srcId="{5E2A7D5A-EFB6-9C4F-A960-3D6903C39497}" destId="{E59B7B1E-3287-FB43-A405-2A84667315EC}" srcOrd="1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E7E5EA89-EA87-B94B-9DE8-7D583D24C398}" type="presOf" srcId="{134C8002-4160-B046-917F-B9172D6D011E}" destId="{569810E7-365A-FB48-A979-23DA3465EF4F}" srcOrd="1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EC65796F-1B0C-6348-944D-6A7341FB00C8}" type="presOf" srcId="{134C8002-4160-B046-917F-B9172D6D011E}" destId="{33DDFCA5-CC66-CC45-A430-EDF4DA53BA93}" srcOrd="0" destOrd="0" presId="urn:microsoft.com/office/officeart/2008/layout/HorizontalMultiLevelHierarchy"/>
    <dgm:cxn modelId="{7478AD54-98CA-FE4C-93D6-A148FA933282}" type="presOf" srcId="{7E0C02E8-17C2-874D-B6DE-8E3A1D3437C9}" destId="{448042B3-2CED-424C-815C-8FD3B3AD8A3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D043FB49-4E59-DA47-A85D-120AF502BF17}" type="presOf" srcId="{08733529-A5F0-F14D-8E75-74214329B040}" destId="{393A7F55-569D-7A48-ACE0-063418018375}" srcOrd="0" destOrd="0" presId="urn:microsoft.com/office/officeart/2008/layout/HorizontalMultiLevelHierarchy"/>
    <dgm:cxn modelId="{B1161203-7728-2D4D-A05C-795730480E31}" type="presOf" srcId="{80BD7623-DCEC-2448-AB85-7A6B177B6EBB}" destId="{73B69BAE-7567-8E4E-A9B2-D2862F6B978E}" srcOrd="0" destOrd="0" presId="urn:microsoft.com/office/officeart/2008/layout/HorizontalMultiLevelHierarchy"/>
    <dgm:cxn modelId="{6EE17A52-5175-0249-B55F-E4E463553BF1}" type="presOf" srcId="{EF2BFDE9-4D1F-3049-B62C-65BE59459C50}" destId="{5167760A-1265-4C43-B02A-4A72B3B39F5E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6C111686-B7A3-8A4A-B20B-CA089D5968B7}" type="presOf" srcId="{488E1B12-EE7C-9246-8169-00D4E05307C4}" destId="{5E781A07-1968-A143-88EC-827822313B55}" srcOrd="0" destOrd="0" presId="urn:microsoft.com/office/officeart/2008/layout/HorizontalMultiLevelHierarchy"/>
    <dgm:cxn modelId="{A8E254D6-3E89-954D-A8AC-A50AA64701DA}" type="presOf" srcId="{C0976C3D-B466-7D45-ABFB-2E3685B2F19C}" destId="{D35EA19E-870C-2F44-A620-E6B51FB20589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A33EC731-DFBA-834B-AFB8-8C8BE3F8C92F}" type="presOf" srcId="{5E2A7D5A-EFB6-9C4F-A960-3D6903C39497}" destId="{1442578F-E924-E34F-9FA5-3F4C2CF65BC9}" srcOrd="0" destOrd="0" presId="urn:microsoft.com/office/officeart/2008/layout/HorizontalMultiLevelHierarchy"/>
    <dgm:cxn modelId="{7A0FC858-BEB2-2846-95D5-7CD118881522}" type="presOf" srcId="{6577C284-4D20-2C4A-88D4-29EB6FEAC9C2}" destId="{A3F719CD-4C36-CF49-B90F-B8B40A2B29DE}" srcOrd="0" destOrd="0" presId="urn:microsoft.com/office/officeart/2008/layout/HorizontalMultiLevelHierarchy"/>
    <dgm:cxn modelId="{9B5E99CA-ED67-7E4B-BBA6-790439940478}" type="presOf" srcId="{08733529-A5F0-F14D-8E75-74214329B040}" destId="{A635BF91-C219-EB46-A0CA-F8A2CE3D7BF3}" srcOrd="1" destOrd="0" presId="urn:microsoft.com/office/officeart/2008/layout/HorizontalMultiLevelHierarchy"/>
    <dgm:cxn modelId="{4193D8FF-3C98-7940-ABA3-F4873C92621B}" type="presOf" srcId="{26144DC7-9794-3E4B-BF8F-331E25884D5F}" destId="{921A596F-4B37-494E-B07C-17FD734C6406}" srcOrd="0" destOrd="0" presId="urn:microsoft.com/office/officeart/2008/layout/HorizontalMultiLevelHierarchy"/>
    <dgm:cxn modelId="{2DDF83F7-54E0-2D4F-A8F9-3CA6BB6DFCCA}" type="presOf" srcId="{5ADEDBF8-717E-F946-B11E-4CC50D9988C8}" destId="{AB33012A-8C54-6245-96E8-E0111C081E33}" srcOrd="1" destOrd="0" presId="urn:microsoft.com/office/officeart/2008/layout/HorizontalMultiLevelHierarchy"/>
    <dgm:cxn modelId="{F0B96170-61A1-7E48-BCA2-E4D3D9C0B5A6}" type="presOf" srcId="{07A4D93E-7AFB-4E4D-8384-CFBE7085BD56}" destId="{9D34DFA2-4C7C-5642-ADF0-8F3EDFBC71AF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F2060DC4-D40F-9349-B53E-06147DB9274C}" type="presOf" srcId="{B3C905E3-C669-9942-AEC9-21A47474CEB4}" destId="{996189F3-00B3-7D49-A5FC-5430A26FB618}" srcOrd="0" destOrd="0" presId="urn:microsoft.com/office/officeart/2008/layout/HorizontalMultiLevelHierarchy"/>
    <dgm:cxn modelId="{0B37E3B0-221D-6745-A8C2-3939136ADA8D}" type="presOf" srcId="{9EB1846C-ABB5-9E44-B030-7BE73C498E59}" destId="{03FF4E40-A0E8-E040-A52F-D68379DCC349}" srcOrd="1" destOrd="0" presId="urn:microsoft.com/office/officeart/2008/layout/HorizontalMultiLevelHierarchy"/>
    <dgm:cxn modelId="{B39A7B85-89AF-EB4D-B89E-BE995C84B90F}" type="presOf" srcId="{90FBF026-5068-6043-A75B-344D047E346D}" destId="{62990B64-CF79-7146-BF7B-48A759C6E310}" srcOrd="1" destOrd="0" presId="urn:microsoft.com/office/officeart/2008/layout/HorizontalMultiLevelHierarchy"/>
    <dgm:cxn modelId="{ADBD0CCA-7D52-5A48-A344-21CAFD3F978B}" type="presOf" srcId="{07A4D93E-7AFB-4E4D-8384-CFBE7085BD56}" destId="{42308E2A-E89A-524C-8598-CEBE02495F63}" srcOrd="0" destOrd="0" presId="urn:microsoft.com/office/officeart/2008/layout/HorizontalMultiLevelHierarchy"/>
    <dgm:cxn modelId="{8123FD2C-F1C9-7345-AF83-85D40235508E}" type="presOf" srcId="{5ADEDBF8-717E-F946-B11E-4CC50D9988C8}" destId="{D778007E-9974-2C41-910F-E1E5562B090A}" srcOrd="0" destOrd="0" presId="urn:microsoft.com/office/officeart/2008/layout/HorizontalMultiLevelHierarchy"/>
    <dgm:cxn modelId="{CA585E26-425B-0E47-A0F9-AA9C17748AA1}" type="presOf" srcId="{73DD7058-02B4-D24C-9D13-AF75375EF8E6}" destId="{55365CED-83D4-194F-A914-2CFC37CD9B45}" srcOrd="0" destOrd="0" presId="urn:microsoft.com/office/officeart/2008/layout/HorizontalMultiLevelHierarchy"/>
    <dgm:cxn modelId="{3DAB6B24-B828-EC42-866C-B33393E32A0D}" type="presOf" srcId="{BBD19103-9913-2A49-AB85-F021773D5328}" destId="{64F502CF-3E90-0B4E-886C-91AB3F51938D}" srcOrd="0" destOrd="0" presId="urn:microsoft.com/office/officeart/2008/layout/HorizontalMultiLevelHierarchy"/>
    <dgm:cxn modelId="{F1FC1D81-BC6B-CE42-92D4-A3ADD2840BF6}" type="presOf" srcId="{B4B50EEB-1538-DF45-B07F-7D0FD83C8ED3}" destId="{7C4C248C-9225-884B-A9F0-E626AEAE24C9}" srcOrd="1" destOrd="0" presId="urn:microsoft.com/office/officeart/2008/layout/HorizontalMultiLevelHierarchy"/>
    <dgm:cxn modelId="{D9028BD8-E0C3-C841-B7B5-EF69CB270EB7}" type="presOf" srcId="{63D1AE09-4F57-A443-A1FD-2A3034962097}" destId="{B7A5E06F-5B4B-C947-BFA6-C1FA5998CE54}" srcOrd="0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3988C9E-6A42-F241-9B45-98CDD4509F89}" type="presOf" srcId="{9EB1846C-ABB5-9E44-B030-7BE73C498E59}" destId="{60914178-E972-6747-98A5-9B1042D21399}" srcOrd="0" destOrd="0" presId="urn:microsoft.com/office/officeart/2008/layout/HorizontalMultiLevelHierarchy"/>
    <dgm:cxn modelId="{2B248179-3641-1147-A145-557D63453228}" type="presOf" srcId="{BA9C693C-1CF5-6E4E-A8C4-1E304AFD6DF5}" destId="{99E936FD-8649-9640-96D2-9202E1CEC417}" srcOrd="0" destOrd="0" presId="urn:microsoft.com/office/officeart/2008/layout/HorizontalMultiLevelHierarchy"/>
    <dgm:cxn modelId="{A3F53239-9CBA-8145-839E-18C2ECB700C8}" type="presOf" srcId="{6577C284-4D20-2C4A-88D4-29EB6FEAC9C2}" destId="{348A166D-A55E-9147-99A1-FB87A4CF61A8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E037D0F-1CFA-CA42-93DD-DE6ECE2674DF}" type="presOf" srcId="{516F75D9-69F5-0544-995D-CFB72352B59F}" destId="{887F982A-9047-D440-AFAC-0FD9C008886A}" srcOrd="0" destOrd="0" presId="urn:microsoft.com/office/officeart/2008/layout/HorizontalMultiLevelHierarchy"/>
    <dgm:cxn modelId="{039418AC-EED8-A14A-80B2-B0B1705B2B21}" type="presOf" srcId="{B8771036-12B2-D843-AA17-BB631BA3F87D}" destId="{F9B786D6-8B73-AC47-BEA7-3780A17C3E39}" srcOrd="0" destOrd="0" presId="urn:microsoft.com/office/officeart/2008/layout/HorizontalMultiLevelHierarchy"/>
    <dgm:cxn modelId="{BA4BE0D7-4335-1F46-B70E-022010C183DA}" type="presOf" srcId="{1333B56B-0FB7-DB46-BFA8-14BA9E09141B}" destId="{9E30CAA0-C8DA-7340-9AC5-F7AFBAE25743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5BE13942-CCF5-F34E-BEAA-E714BEDFC554}" type="presParOf" srcId="{613226CB-11A4-C549-82A6-64B9BCFE1002}" destId="{3BA40406-1E55-1642-A22A-B49F5A173AC8}" srcOrd="0" destOrd="0" presId="urn:microsoft.com/office/officeart/2008/layout/HorizontalMultiLevelHierarchy"/>
    <dgm:cxn modelId="{00DE3D79-12EC-CF4A-8CB1-5FEC28BCDEC3}" type="presParOf" srcId="{3BA40406-1E55-1642-A22A-B49F5A173AC8}" destId="{99E936FD-8649-9640-96D2-9202E1CEC417}" srcOrd="0" destOrd="0" presId="urn:microsoft.com/office/officeart/2008/layout/HorizontalMultiLevelHierarchy"/>
    <dgm:cxn modelId="{6F123DA5-92EE-444A-A122-76300EED3244}" type="presParOf" srcId="{3BA40406-1E55-1642-A22A-B49F5A173AC8}" destId="{598DBB90-9C26-4C4B-AC1C-FF1827BF8D97}" srcOrd="1" destOrd="0" presId="urn:microsoft.com/office/officeart/2008/layout/HorizontalMultiLevelHierarchy"/>
    <dgm:cxn modelId="{B32545E0-FFC3-CB46-9738-F9E4061BEB68}" type="presParOf" srcId="{598DBB90-9C26-4C4B-AC1C-FF1827BF8D97}" destId="{D778007E-9974-2C41-910F-E1E5562B090A}" srcOrd="0" destOrd="0" presId="urn:microsoft.com/office/officeart/2008/layout/HorizontalMultiLevelHierarchy"/>
    <dgm:cxn modelId="{B9DD2A74-4C5F-8842-8826-9B43A83EAE39}" type="presParOf" srcId="{D778007E-9974-2C41-910F-E1E5562B090A}" destId="{AB33012A-8C54-6245-96E8-E0111C081E33}" srcOrd="0" destOrd="0" presId="urn:microsoft.com/office/officeart/2008/layout/HorizontalMultiLevelHierarchy"/>
    <dgm:cxn modelId="{F17D6A49-AB3C-FB4D-A774-5D0C1925FAC7}" type="presParOf" srcId="{598DBB90-9C26-4C4B-AC1C-FF1827BF8D97}" destId="{BCA6FE17-8DB6-0242-A6E4-C7D3971EBD97}" srcOrd="1" destOrd="0" presId="urn:microsoft.com/office/officeart/2008/layout/HorizontalMultiLevelHierarchy"/>
    <dgm:cxn modelId="{3449F685-F1DA-0C4C-BD14-DCEE40E8A9D0}" type="presParOf" srcId="{BCA6FE17-8DB6-0242-A6E4-C7D3971EBD97}" destId="{5E781A07-1968-A143-88EC-827822313B55}" srcOrd="0" destOrd="0" presId="urn:microsoft.com/office/officeart/2008/layout/HorizontalMultiLevelHierarchy"/>
    <dgm:cxn modelId="{6EBA4701-2BF2-5447-B6B6-93A050E83AF2}" type="presParOf" srcId="{BCA6FE17-8DB6-0242-A6E4-C7D3971EBD97}" destId="{BDDED42C-20CE-EF4E-85AA-7830E9428B23}" srcOrd="1" destOrd="0" presId="urn:microsoft.com/office/officeart/2008/layout/HorizontalMultiLevelHierarchy"/>
    <dgm:cxn modelId="{0E7B5250-AA4A-FD4E-B47F-7F0DC092060B}" type="presParOf" srcId="{598DBB90-9C26-4C4B-AC1C-FF1827BF8D97}" destId="{B7A5E06F-5B4B-C947-BFA6-C1FA5998CE54}" srcOrd="2" destOrd="0" presId="urn:microsoft.com/office/officeart/2008/layout/HorizontalMultiLevelHierarchy"/>
    <dgm:cxn modelId="{610844AF-C15E-EA42-A9C4-D9B8E6B07CEA}" type="presParOf" srcId="{B7A5E06F-5B4B-C947-BFA6-C1FA5998CE54}" destId="{04D949B2-6FA5-4948-B335-DDA85E4E65B1}" srcOrd="0" destOrd="0" presId="urn:microsoft.com/office/officeart/2008/layout/HorizontalMultiLevelHierarchy"/>
    <dgm:cxn modelId="{795BBD4D-B247-AE4A-A0C0-C64DC6348688}" type="presParOf" srcId="{598DBB90-9C26-4C4B-AC1C-FF1827BF8D97}" destId="{5B0B9041-BDB4-7141-9957-0BEAFB33AEFE}" srcOrd="3" destOrd="0" presId="urn:microsoft.com/office/officeart/2008/layout/HorizontalMultiLevelHierarchy"/>
    <dgm:cxn modelId="{250811E2-3546-954E-8606-29CCDC34B081}" type="presParOf" srcId="{5B0B9041-BDB4-7141-9957-0BEAFB33AEFE}" destId="{D35EA19E-870C-2F44-A620-E6B51FB20589}" srcOrd="0" destOrd="0" presId="urn:microsoft.com/office/officeart/2008/layout/HorizontalMultiLevelHierarchy"/>
    <dgm:cxn modelId="{D8C6BC14-C4F9-7140-A881-1816BE97AC6C}" type="presParOf" srcId="{5B0B9041-BDB4-7141-9957-0BEAFB33AEFE}" destId="{62348515-9687-1045-ADA1-3184EC8CEC61}" srcOrd="1" destOrd="0" presId="urn:microsoft.com/office/officeart/2008/layout/HorizontalMultiLevelHierarchy"/>
    <dgm:cxn modelId="{1ED00F7A-9145-074A-8A63-CB394FE43E11}" type="presParOf" srcId="{598DBB90-9C26-4C4B-AC1C-FF1827BF8D97}" destId="{42308E2A-E89A-524C-8598-CEBE02495F63}" srcOrd="4" destOrd="0" presId="urn:microsoft.com/office/officeart/2008/layout/HorizontalMultiLevelHierarchy"/>
    <dgm:cxn modelId="{266E7FA8-F229-A741-8355-6561C6834B2A}" type="presParOf" srcId="{42308E2A-E89A-524C-8598-CEBE02495F63}" destId="{9D34DFA2-4C7C-5642-ADF0-8F3EDFBC71AF}" srcOrd="0" destOrd="0" presId="urn:microsoft.com/office/officeart/2008/layout/HorizontalMultiLevelHierarchy"/>
    <dgm:cxn modelId="{7A69ACBB-4CD4-174E-B501-6063B31E5429}" type="presParOf" srcId="{598DBB90-9C26-4C4B-AC1C-FF1827BF8D97}" destId="{5A37FE29-273D-2F4A-BA74-A981AFDF7035}" srcOrd="5" destOrd="0" presId="urn:microsoft.com/office/officeart/2008/layout/HorizontalMultiLevelHierarchy"/>
    <dgm:cxn modelId="{5CF708C8-B237-2542-95FF-2BA9AF1DDCB0}" type="presParOf" srcId="{5A37FE29-273D-2F4A-BA74-A981AFDF7035}" destId="{887F982A-9047-D440-AFAC-0FD9C008886A}" srcOrd="0" destOrd="0" presId="urn:microsoft.com/office/officeart/2008/layout/HorizontalMultiLevelHierarchy"/>
    <dgm:cxn modelId="{EBC48B45-6231-CC46-9E5E-513140D944E9}" type="presParOf" srcId="{5A37FE29-273D-2F4A-BA74-A981AFDF7035}" destId="{740B7AF0-357F-C843-8A5C-C85C349471AE}" srcOrd="1" destOrd="0" presId="urn:microsoft.com/office/officeart/2008/layout/HorizontalMultiLevelHierarchy"/>
    <dgm:cxn modelId="{637E82CA-5812-1345-BA3C-ACE384943C17}" type="presParOf" srcId="{598DBB90-9C26-4C4B-AC1C-FF1827BF8D97}" destId="{996189F3-00B3-7D49-A5FC-5430A26FB618}" srcOrd="6" destOrd="0" presId="urn:microsoft.com/office/officeart/2008/layout/HorizontalMultiLevelHierarchy"/>
    <dgm:cxn modelId="{08A54023-2FBB-5549-9844-4C2A8609F284}" type="presParOf" srcId="{996189F3-00B3-7D49-A5FC-5430A26FB618}" destId="{DB79995B-B315-9C4C-BCA0-97AF2CF960CD}" srcOrd="0" destOrd="0" presId="urn:microsoft.com/office/officeart/2008/layout/HorizontalMultiLevelHierarchy"/>
    <dgm:cxn modelId="{59435BE5-D2E9-744A-BECF-DE135674A6E9}" type="presParOf" srcId="{598DBB90-9C26-4C4B-AC1C-FF1827BF8D97}" destId="{7361FCA1-91C1-7340-94A4-772CB0377746}" srcOrd="7" destOrd="0" presId="urn:microsoft.com/office/officeart/2008/layout/HorizontalMultiLevelHierarchy"/>
    <dgm:cxn modelId="{7274048B-0FB9-0945-AEA6-B4613600C6AE}" type="presParOf" srcId="{7361FCA1-91C1-7340-94A4-772CB0377746}" destId="{9E30CAA0-C8DA-7340-9AC5-F7AFBAE25743}" srcOrd="0" destOrd="0" presId="urn:microsoft.com/office/officeart/2008/layout/HorizontalMultiLevelHierarchy"/>
    <dgm:cxn modelId="{24908CEE-224F-0E42-97E2-B18B95402494}" type="presParOf" srcId="{7361FCA1-91C1-7340-94A4-772CB0377746}" destId="{75AE1B1C-8672-CF47-8665-1AE6D32AB23F}" srcOrd="1" destOrd="0" presId="urn:microsoft.com/office/officeart/2008/layout/HorizontalMultiLevelHierarchy"/>
    <dgm:cxn modelId="{7E9EDC38-663C-9F4E-9132-87838402768A}" type="presParOf" srcId="{598DBB90-9C26-4C4B-AC1C-FF1827BF8D97}" destId="{1442578F-E924-E34F-9FA5-3F4C2CF65BC9}" srcOrd="8" destOrd="0" presId="urn:microsoft.com/office/officeart/2008/layout/HorizontalMultiLevelHierarchy"/>
    <dgm:cxn modelId="{3A04416A-3BD7-C846-B283-C1EB195291E7}" type="presParOf" srcId="{1442578F-E924-E34F-9FA5-3F4C2CF65BC9}" destId="{E59B7B1E-3287-FB43-A405-2A84667315EC}" srcOrd="0" destOrd="0" presId="urn:microsoft.com/office/officeart/2008/layout/HorizontalMultiLevelHierarchy"/>
    <dgm:cxn modelId="{3911990C-D1DF-5943-B896-0FC0B6984C5C}" type="presParOf" srcId="{598DBB90-9C26-4C4B-AC1C-FF1827BF8D97}" destId="{6188AF91-8F5E-7F4E-A0A2-13FA32167F53}" srcOrd="9" destOrd="0" presId="urn:microsoft.com/office/officeart/2008/layout/HorizontalMultiLevelHierarchy"/>
    <dgm:cxn modelId="{A763A276-E48B-CB44-9407-F2B7C6ECF54E}" type="presParOf" srcId="{6188AF91-8F5E-7F4E-A0A2-13FA32167F53}" destId="{5167760A-1265-4C43-B02A-4A72B3B39F5E}" srcOrd="0" destOrd="0" presId="urn:microsoft.com/office/officeart/2008/layout/HorizontalMultiLevelHierarchy"/>
    <dgm:cxn modelId="{8E1F4DC9-34F0-7241-BEDF-7890C8BC0F1D}" type="presParOf" srcId="{6188AF91-8F5E-7F4E-A0A2-13FA32167F53}" destId="{21F2C295-F343-AC4A-8BE2-CFD4DAC170AE}" srcOrd="1" destOrd="0" presId="urn:microsoft.com/office/officeart/2008/layout/HorizontalMultiLevelHierarchy"/>
    <dgm:cxn modelId="{03FDFA05-CFB9-6943-874A-A7BB0967D7DD}" type="presParOf" srcId="{598DBB90-9C26-4C4B-AC1C-FF1827BF8D97}" destId="{A3F719CD-4C36-CF49-B90F-B8B40A2B29DE}" srcOrd="10" destOrd="0" presId="urn:microsoft.com/office/officeart/2008/layout/HorizontalMultiLevelHierarchy"/>
    <dgm:cxn modelId="{CE3A5CAB-C66F-9B48-8932-40B2FAA740C9}" type="presParOf" srcId="{A3F719CD-4C36-CF49-B90F-B8B40A2B29DE}" destId="{348A166D-A55E-9147-99A1-FB87A4CF61A8}" srcOrd="0" destOrd="0" presId="urn:microsoft.com/office/officeart/2008/layout/HorizontalMultiLevelHierarchy"/>
    <dgm:cxn modelId="{28DAC9F1-0703-C544-A39C-097E5EE1E5CB}" type="presParOf" srcId="{598DBB90-9C26-4C4B-AC1C-FF1827BF8D97}" destId="{175E4F2C-D898-EE44-A4E7-79846E237DB4}" srcOrd="11" destOrd="0" presId="urn:microsoft.com/office/officeart/2008/layout/HorizontalMultiLevelHierarchy"/>
    <dgm:cxn modelId="{3C2AD684-160C-284B-9C33-CB697727A160}" type="presParOf" srcId="{175E4F2C-D898-EE44-A4E7-79846E237DB4}" destId="{921A596F-4B37-494E-B07C-17FD734C6406}" srcOrd="0" destOrd="0" presId="urn:microsoft.com/office/officeart/2008/layout/HorizontalMultiLevelHierarchy"/>
    <dgm:cxn modelId="{825A3532-EEBC-3848-AC73-970A85C53B30}" type="presParOf" srcId="{175E4F2C-D898-EE44-A4E7-79846E237DB4}" destId="{A9D518F9-DAB2-4E45-9ECB-39AA13A01564}" srcOrd="1" destOrd="0" presId="urn:microsoft.com/office/officeart/2008/layout/HorizontalMultiLevelHierarchy"/>
    <dgm:cxn modelId="{8703C782-0A75-FB4F-BE0B-7009C48C2C13}" type="presParOf" srcId="{598DBB90-9C26-4C4B-AC1C-FF1827BF8D97}" destId="{33DDFCA5-CC66-CC45-A430-EDF4DA53BA93}" srcOrd="12" destOrd="0" presId="urn:microsoft.com/office/officeart/2008/layout/HorizontalMultiLevelHierarchy"/>
    <dgm:cxn modelId="{1354677B-22D2-FD44-A6BC-4C79C59876FB}" type="presParOf" srcId="{33DDFCA5-CC66-CC45-A430-EDF4DA53BA93}" destId="{569810E7-365A-FB48-A979-23DA3465EF4F}" srcOrd="0" destOrd="0" presId="urn:microsoft.com/office/officeart/2008/layout/HorizontalMultiLevelHierarchy"/>
    <dgm:cxn modelId="{28089916-BE63-5F46-A513-EE93F7FFD828}" type="presParOf" srcId="{598DBB90-9C26-4C4B-AC1C-FF1827BF8D97}" destId="{299D8B01-3ECB-7743-BE59-35C50BD6249A}" srcOrd="13" destOrd="0" presId="urn:microsoft.com/office/officeart/2008/layout/HorizontalMultiLevelHierarchy"/>
    <dgm:cxn modelId="{01C1E3DA-0D60-954D-9654-FBFAE2DE668B}" type="presParOf" srcId="{299D8B01-3ECB-7743-BE59-35C50BD6249A}" destId="{03DEAF18-EC72-C047-A9B4-C65BE189F02C}" srcOrd="0" destOrd="0" presId="urn:microsoft.com/office/officeart/2008/layout/HorizontalMultiLevelHierarchy"/>
    <dgm:cxn modelId="{176C32FC-0542-0943-977E-A56BB8850696}" type="presParOf" srcId="{299D8B01-3ECB-7743-BE59-35C50BD6249A}" destId="{322C5A5A-9E25-6047-BB00-4DF750E135CE}" srcOrd="1" destOrd="0" presId="urn:microsoft.com/office/officeart/2008/layout/HorizontalMultiLevelHierarchy"/>
    <dgm:cxn modelId="{6833D36A-6917-414F-8BFF-E08BC8609D45}" type="presParOf" srcId="{322C5A5A-9E25-6047-BB00-4DF750E135CE}" destId="{393A7F55-569D-7A48-ACE0-063418018375}" srcOrd="0" destOrd="0" presId="urn:microsoft.com/office/officeart/2008/layout/HorizontalMultiLevelHierarchy"/>
    <dgm:cxn modelId="{12078B43-737C-9C4C-A77A-02F9480FF338}" type="presParOf" srcId="{393A7F55-569D-7A48-ACE0-063418018375}" destId="{A635BF91-C219-EB46-A0CA-F8A2CE3D7BF3}" srcOrd="0" destOrd="0" presId="urn:microsoft.com/office/officeart/2008/layout/HorizontalMultiLevelHierarchy"/>
    <dgm:cxn modelId="{1DF61208-958C-B04F-B7E4-CF663DBFE1C6}" type="presParOf" srcId="{322C5A5A-9E25-6047-BB00-4DF750E135CE}" destId="{55918953-A6CF-814A-89F9-551623EBC010}" srcOrd="1" destOrd="0" presId="urn:microsoft.com/office/officeart/2008/layout/HorizontalMultiLevelHierarchy"/>
    <dgm:cxn modelId="{AF2481D1-CBE8-874C-9AB0-435E6BF55FAD}" type="presParOf" srcId="{55918953-A6CF-814A-89F9-551623EBC010}" destId="{448042B3-2CED-424C-815C-8FD3B3AD8A39}" srcOrd="0" destOrd="0" presId="urn:microsoft.com/office/officeart/2008/layout/HorizontalMultiLevelHierarchy"/>
    <dgm:cxn modelId="{D717BA99-BCA0-784D-B3F4-C3119694D4B3}" type="presParOf" srcId="{55918953-A6CF-814A-89F9-551623EBC010}" destId="{4C59A0B4-1525-104C-AAB2-E79163983336}" srcOrd="1" destOrd="0" presId="urn:microsoft.com/office/officeart/2008/layout/HorizontalMultiLevelHierarchy"/>
    <dgm:cxn modelId="{3532F58B-E370-9F40-B63C-461B41351EF1}" type="presParOf" srcId="{322C5A5A-9E25-6047-BB00-4DF750E135CE}" destId="{64F502CF-3E90-0B4E-886C-91AB3F51938D}" srcOrd="2" destOrd="0" presId="urn:microsoft.com/office/officeart/2008/layout/HorizontalMultiLevelHierarchy"/>
    <dgm:cxn modelId="{BE7086AA-5DAC-4E41-978D-C23E310E2EBC}" type="presParOf" srcId="{64F502CF-3E90-0B4E-886C-91AB3F51938D}" destId="{6FA82A28-C585-714B-9AF5-DA995FB3DF53}" srcOrd="0" destOrd="0" presId="urn:microsoft.com/office/officeart/2008/layout/HorizontalMultiLevelHierarchy"/>
    <dgm:cxn modelId="{A3B896DD-9645-1147-8168-3FCF53F63086}" type="presParOf" srcId="{322C5A5A-9E25-6047-BB00-4DF750E135CE}" destId="{EC8B6A62-9FAE-5045-A1A4-029DC2356DF7}" srcOrd="3" destOrd="0" presId="urn:microsoft.com/office/officeart/2008/layout/HorizontalMultiLevelHierarchy"/>
    <dgm:cxn modelId="{4550C001-8A7F-3B46-B550-5A9473D31D31}" type="presParOf" srcId="{EC8B6A62-9FAE-5045-A1A4-029DC2356DF7}" destId="{F9B786D6-8B73-AC47-BEA7-3780A17C3E39}" srcOrd="0" destOrd="0" presId="urn:microsoft.com/office/officeart/2008/layout/HorizontalMultiLevelHierarchy"/>
    <dgm:cxn modelId="{69C3DB6C-0681-5541-84E4-32328B5C6A80}" type="presParOf" srcId="{EC8B6A62-9FAE-5045-A1A4-029DC2356DF7}" destId="{6E27147E-0C63-E041-AB6B-5C0E60851726}" srcOrd="1" destOrd="0" presId="urn:microsoft.com/office/officeart/2008/layout/HorizontalMultiLevelHierarchy"/>
    <dgm:cxn modelId="{167A79D0-04CA-774B-B1AA-827850123D73}" type="presParOf" srcId="{598DBB90-9C26-4C4B-AC1C-FF1827BF8D97}" destId="{60914178-E972-6747-98A5-9B1042D21399}" srcOrd="14" destOrd="0" presId="urn:microsoft.com/office/officeart/2008/layout/HorizontalMultiLevelHierarchy"/>
    <dgm:cxn modelId="{6EDC14D4-FA66-8244-BA00-CE13E5A1DA8C}" type="presParOf" srcId="{60914178-E972-6747-98A5-9B1042D21399}" destId="{03FF4E40-A0E8-E040-A52F-D68379DCC349}" srcOrd="0" destOrd="0" presId="urn:microsoft.com/office/officeart/2008/layout/HorizontalMultiLevelHierarchy"/>
    <dgm:cxn modelId="{95E60438-C2A6-374D-808C-0F4C695CE768}" type="presParOf" srcId="{598DBB90-9C26-4C4B-AC1C-FF1827BF8D97}" destId="{82D22835-936A-1D4B-AF7A-2D86C6FB8621}" srcOrd="15" destOrd="0" presId="urn:microsoft.com/office/officeart/2008/layout/HorizontalMultiLevelHierarchy"/>
    <dgm:cxn modelId="{2B92E998-8074-0743-8D6C-3E204FD59FCF}" type="presParOf" srcId="{82D22835-936A-1D4B-AF7A-2D86C6FB8621}" destId="{4D444EFA-484D-8B49-B53F-73AE5DAC83CB}" srcOrd="0" destOrd="0" presId="urn:microsoft.com/office/officeart/2008/layout/HorizontalMultiLevelHierarchy"/>
    <dgm:cxn modelId="{55D8C9A5-05E4-514C-B80C-FDA515CE231D}" type="presParOf" srcId="{82D22835-936A-1D4B-AF7A-2D86C6FB8621}" destId="{780003EA-E55D-2544-948D-2BA68EB5F8A9}" srcOrd="1" destOrd="0" presId="urn:microsoft.com/office/officeart/2008/layout/HorizontalMultiLevelHierarchy"/>
    <dgm:cxn modelId="{1C1C39C1-AD51-2347-B84C-F0D6A0998BC4}" type="presParOf" srcId="{598DBB90-9C26-4C4B-AC1C-FF1827BF8D97}" destId="{91975744-72FE-E947-98E3-ECF3B2E7C3DC}" srcOrd="16" destOrd="0" presId="urn:microsoft.com/office/officeart/2008/layout/HorizontalMultiLevelHierarchy"/>
    <dgm:cxn modelId="{60B2A712-05FA-F14B-93E6-80F5A7D69465}" type="presParOf" srcId="{91975744-72FE-E947-98E3-ECF3B2E7C3DC}" destId="{7C4C248C-9225-884B-A9F0-E626AEAE24C9}" srcOrd="0" destOrd="0" presId="urn:microsoft.com/office/officeart/2008/layout/HorizontalMultiLevelHierarchy"/>
    <dgm:cxn modelId="{80E6A82C-0DD7-364A-98F7-43FC014165A9}" type="presParOf" srcId="{598DBB90-9C26-4C4B-AC1C-FF1827BF8D97}" destId="{FD91877E-03C5-8D41-B768-0E4703294F6C}" srcOrd="17" destOrd="0" presId="urn:microsoft.com/office/officeart/2008/layout/HorizontalMultiLevelHierarchy"/>
    <dgm:cxn modelId="{84DB0E8D-FC3E-2B4E-8323-773CA1C66AD1}" type="presParOf" srcId="{FD91877E-03C5-8D41-B768-0E4703294F6C}" destId="{73B69BAE-7567-8E4E-A9B2-D2862F6B978E}" srcOrd="0" destOrd="0" presId="urn:microsoft.com/office/officeart/2008/layout/HorizontalMultiLevelHierarchy"/>
    <dgm:cxn modelId="{2BB7B5CC-2031-9B4A-BE50-0EBACD6F48E5}" type="presParOf" srcId="{FD91877E-03C5-8D41-B768-0E4703294F6C}" destId="{27C85358-980A-884D-9DDA-63018758070E}" srcOrd="1" destOrd="0" presId="urn:microsoft.com/office/officeart/2008/layout/HorizontalMultiLevelHierarchy"/>
    <dgm:cxn modelId="{48B39547-3EE1-F741-8215-40D82C79DD95}" type="presParOf" srcId="{27C85358-980A-884D-9DDA-63018758070E}" destId="{55365CED-83D4-194F-A914-2CFC37CD9B45}" srcOrd="0" destOrd="0" presId="urn:microsoft.com/office/officeart/2008/layout/HorizontalMultiLevelHierarchy"/>
    <dgm:cxn modelId="{FFA635F6-C508-D24B-B36D-1F1C172B9E38}" type="presParOf" srcId="{55365CED-83D4-194F-A914-2CFC37CD9B45}" destId="{12E46C15-0F90-7843-8745-7EFB583D5A38}" srcOrd="0" destOrd="0" presId="urn:microsoft.com/office/officeart/2008/layout/HorizontalMultiLevelHierarchy"/>
    <dgm:cxn modelId="{C6853FB6-7FCE-674B-BF48-5809FE885B6F}" type="presParOf" srcId="{27C85358-980A-884D-9DDA-63018758070E}" destId="{76889E03-95A4-234A-BE0C-87E6CEF02D37}" srcOrd="1" destOrd="0" presId="urn:microsoft.com/office/officeart/2008/layout/HorizontalMultiLevelHierarchy"/>
    <dgm:cxn modelId="{9B743E04-D851-2644-AF5D-297892DD3960}" type="presParOf" srcId="{76889E03-95A4-234A-BE0C-87E6CEF02D37}" destId="{21C89BDE-E13D-974B-B17D-6B6CDBB2C8DB}" srcOrd="0" destOrd="0" presId="urn:microsoft.com/office/officeart/2008/layout/HorizontalMultiLevelHierarchy"/>
    <dgm:cxn modelId="{C4BEB43E-58BF-144E-954D-825D7152FC1F}" type="presParOf" srcId="{76889E03-95A4-234A-BE0C-87E6CEF02D37}" destId="{FB25556A-79E0-D042-8EE4-421CC8CFEFD5}" srcOrd="1" destOrd="0" presId="urn:microsoft.com/office/officeart/2008/layout/HorizontalMultiLevelHierarchy"/>
    <dgm:cxn modelId="{8C2D2DEB-6311-DE43-87C9-0D0A338E8F0F}" type="presParOf" srcId="{27C85358-980A-884D-9DDA-63018758070E}" destId="{2242491C-75CB-654B-ABCA-74AF8E25B4E8}" srcOrd="2" destOrd="0" presId="urn:microsoft.com/office/officeart/2008/layout/HorizontalMultiLevelHierarchy"/>
    <dgm:cxn modelId="{3BE37EA4-C559-5049-9382-B4CEC5588924}" type="presParOf" srcId="{2242491C-75CB-654B-ABCA-74AF8E25B4E8}" destId="{62990B64-CF79-7146-BF7B-48A759C6E310}" srcOrd="0" destOrd="0" presId="urn:microsoft.com/office/officeart/2008/layout/HorizontalMultiLevelHierarchy"/>
    <dgm:cxn modelId="{B19C15E7-B4D1-7442-B098-79523E1AB178}" type="presParOf" srcId="{27C85358-980A-884D-9DDA-63018758070E}" destId="{34BC8C0B-A669-9B42-82AD-78E158ADEE5B}" srcOrd="3" destOrd="0" presId="urn:microsoft.com/office/officeart/2008/layout/HorizontalMultiLevelHierarchy"/>
    <dgm:cxn modelId="{0F46CE7D-046C-4B44-B7D6-9E2547BFEA40}" type="presParOf" srcId="{34BC8C0B-A669-9B42-82AD-78E158ADEE5B}" destId="{84732D04-01E1-2742-A082-1195BCDCDEC2}" srcOrd="0" destOrd="0" presId="urn:microsoft.com/office/officeart/2008/layout/HorizontalMultiLevelHierarchy"/>
    <dgm:cxn modelId="{8B82582D-BE0B-5E45-8338-1D36E1BAB732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0666F4F7-EC45-A042-808D-FBF311F18CD2}" type="presOf" srcId="{5E2A7D5A-EFB6-9C4F-A960-3D6903C39497}" destId="{E59B7B1E-3287-FB43-A405-2A84667315EC}" srcOrd="1" destOrd="0" presId="urn:microsoft.com/office/officeart/2008/layout/HorizontalMultiLevelHierarchy"/>
    <dgm:cxn modelId="{04808529-B504-6A4E-8DEE-0AFD351F0838}" type="presOf" srcId="{8BC59F7D-94BF-3B43-BF5D-5485F4809DAD}" destId="{756F0DD8-11FC-8647-8FC8-7AAB634C5717}" srcOrd="1" destOrd="0" presId="urn:microsoft.com/office/officeart/2008/layout/HorizontalMultiLevelHierarchy"/>
    <dgm:cxn modelId="{40F00C54-127D-3943-AEFB-29BC7EDEB093}" type="presOf" srcId="{859769CA-042B-6244-840F-75AE1403619A}" destId="{4E546A01-1907-BB4F-B534-4E81DE6081F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B08F161E-8804-D640-BAF3-3DBB498BB7A2}" type="presOf" srcId="{08733529-A5F0-F14D-8E75-74214329B040}" destId="{393A7F55-569D-7A48-ACE0-063418018375}" srcOrd="0" destOrd="0" presId="urn:microsoft.com/office/officeart/2008/layout/HorizontalMultiLevelHierarchy"/>
    <dgm:cxn modelId="{3F73C215-7082-1A42-BCC7-EBEF8A614783}" type="presOf" srcId="{EF2BFDE9-4D1F-3049-B62C-65BE59459C50}" destId="{5167760A-1265-4C43-B02A-4A72B3B39F5E}" srcOrd="0" destOrd="0" presId="urn:microsoft.com/office/officeart/2008/layout/HorizontalMultiLevelHierarchy"/>
    <dgm:cxn modelId="{BD98DDF8-C135-DF4A-BDB9-F75EE46882E1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67B444C0-2C79-1F47-A007-DC078A974949}" type="presOf" srcId="{174F7A28-653D-6F45-9860-935E35504EE1}" destId="{4D444EFA-484D-8B49-B53F-73AE5DAC83CB}" srcOrd="0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1D36913A-6209-254A-A458-51AAD8013334}" type="presOf" srcId="{8BC59F7D-94BF-3B43-BF5D-5485F4809DAD}" destId="{6D977B4C-E88D-6044-A647-A6CC29747BE1}" srcOrd="0" destOrd="0" presId="urn:microsoft.com/office/officeart/2008/layout/HorizontalMultiLevelHierarchy"/>
    <dgm:cxn modelId="{3CBF857A-BCAF-904A-B27D-9B3B11CD8FF9}" type="presOf" srcId="{E543121D-95F7-3E47-B964-B7B948211EBC}" destId="{2C1F9B08-4495-8146-8974-2654E99B2E9A}" srcOrd="0" destOrd="0" presId="urn:microsoft.com/office/officeart/2008/layout/HorizontalMultiLevelHierarchy"/>
    <dgm:cxn modelId="{E4BC1AF5-BA20-B243-92ED-70478CF2317D}" type="presOf" srcId="{26144DC7-9794-3E4B-BF8F-331E25884D5F}" destId="{921A596F-4B37-494E-B07C-17FD734C6406}" srcOrd="0" destOrd="0" presId="urn:microsoft.com/office/officeart/2008/layout/HorizontalMultiLevelHierarchy"/>
    <dgm:cxn modelId="{C8805F43-72B7-884F-AA9F-9E983098F326}" type="presOf" srcId="{436C1B23-A07F-9344-ADAB-98173723FB7F}" destId="{0637CC4E-4D30-724B-9FFD-C7AED88FB068}" srcOrd="1" destOrd="0" presId="urn:microsoft.com/office/officeart/2008/layout/HorizontalMultiLevelHierarchy"/>
    <dgm:cxn modelId="{9B605089-E5B5-9244-A6DA-A6F3D8D94032}" type="presOf" srcId="{5ADEDBF8-717E-F946-B11E-4CC50D9988C8}" destId="{AB33012A-8C54-6245-96E8-E0111C081E3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2A8018F2-FC11-6B49-A156-2D0780C7B54F}" type="presOf" srcId="{436C1B23-A07F-9344-ADAB-98173723FB7F}" destId="{B541F6A1-B2AA-7447-8E11-AC7AA5D5D50B}" srcOrd="0" destOrd="0" presId="urn:microsoft.com/office/officeart/2008/layout/HorizontalMultiLevelHierarchy"/>
    <dgm:cxn modelId="{2F4E75FC-34D6-054D-8F22-4295FD6E5226}" type="presOf" srcId="{08733529-A5F0-F14D-8E75-74214329B040}" destId="{A635BF91-C219-EB46-A0CA-F8A2CE3D7BF3}" srcOrd="1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E3ACB13A-0083-9F4E-81C8-3331E6C0B6B7}" type="presOf" srcId="{63D1AE09-4F57-A443-A1FD-2A3034962097}" destId="{04D949B2-6FA5-4948-B335-DDA85E4E65B1}" srcOrd="1" destOrd="0" presId="urn:microsoft.com/office/officeart/2008/layout/HorizontalMultiLevelHierarchy"/>
    <dgm:cxn modelId="{8336D967-7270-DA4B-97BF-14DC2E545077}" type="presOf" srcId="{9EB1846C-ABB5-9E44-B030-7BE73C498E59}" destId="{60914178-E972-6747-98A5-9B1042D21399}" srcOrd="0" destOrd="0" presId="urn:microsoft.com/office/officeart/2008/layout/HorizontalMultiLevelHierarchy"/>
    <dgm:cxn modelId="{922A47E9-83A2-544D-B644-240886A2947B}" type="presOf" srcId="{C24B2AD7-9651-4B45-A8F4-0314EA8D4874}" destId="{27DD3461-0240-774A-8774-CC1A00541B61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794F4780-B7D7-4346-8B6C-21424AA67D1C}" type="presOf" srcId="{BBD19103-9913-2A49-AB85-F021773D5328}" destId="{6FA82A28-C585-714B-9AF5-DA995FB3DF53}" srcOrd="1" destOrd="0" presId="urn:microsoft.com/office/officeart/2008/layout/HorizontalMultiLevelHierarchy"/>
    <dgm:cxn modelId="{A8CAC9DD-8C77-DA46-AC8A-42888B7B2303}" type="presOf" srcId="{B64CCDD1-81AB-5245-B99A-E87DB05674D4}" destId="{3C43B809-8F2F-3641-8339-1043D47661D7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A64D81-6AB5-3447-A6DD-32C7BA0443E7}" type="presOf" srcId="{990267CF-EA89-A240-9514-9AFC12BBADEE}" destId="{03DEAF18-EC72-C047-A9B4-C65BE189F02C}" srcOrd="0" destOrd="0" presId="urn:microsoft.com/office/officeart/2008/layout/HorizontalMultiLevelHierarchy"/>
    <dgm:cxn modelId="{40A90B68-837D-B54F-8DCB-6EF9DA77D51F}" type="presOf" srcId="{5E2A7D5A-EFB6-9C4F-A960-3D6903C39497}" destId="{1442578F-E924-E34F-9FA5-3F4C2CF65BC9}" srcOrd="0" destOrd="0" presId="urn:microsoft.com/office/officeart/2008/layout/HorizontalMultiLevelHierarchy"/>
    <dgm:cxn modelId="{90F7364D-E899-A047-9131-9169D733415D}" type="presOf" srcId="{5ADEDBF8-717E-F946-B11E-4CC50D9988C8}" destId="{D778007E-9974-2C41-910F-E1E5562B090A}" srcOrd="0" destOrd="0" presId="urn:microsoft.com/office/officeart/2008/layout/HorizontalMultiLevelHierarchy"/>
    <dgm:cxn modelId="{4CA50653-37C4-214E-9810-D3A24F90B5A2}" type="presOf" srcId="{6577C284-4D20-2C4A-88D4-29EB6FEAC9C2}" destId="{348A166D-A55E-9147-99A1-FB87A4CF61A8}" srcOrd="1" destOrd="0" presId="urn:microsoft.com/office/officeart/2008/layout/HorizontalMultiLevelHierarchy"/>
    <dgm:cxn modelId="{383A82EC-41EC-0D48-B0CB-668E6FEF31CD}" type="presOf" srcId="{134C8002-4160-B046-917F-B9172D6D011E}" destId="{33DDFCA5-CC66-CC45-A430-EDF4DA53BA93}" srcOrd="0" destOrd="0" presId="urn:microsoft.com/office/officeart/2008/layout/HorizontalMultiLevelHierarchy"/>
    <dgm:cxn modelId="{4F31A53E-DE20-704B-8BD6-3E045CA2C3CB}" type="presOf" srcId="{BBD19103-9913-2A49-AB85-F021773D5328}" destId="{64F502CF-3E90-0B4E-886C-91AB3F51938D}" srcOrd="0" destOrd="0" presId="urn:microsoft.com/office/officeart/2008/layout/HorizontalMultiLevelHierarchy"/>
    <dgm:cxn modelId="{7F0771D8-8009-1941-A6AC-A32C6E38572F}" type="presOf" srcId="{75291F63-6D2A-BA4D-9808-5F545EE4CCF0}" destId="{9FB8B136-71A7-D34F-B7EB-BD8FC5C96ECE}" srcOrd="0" destOrd="0" presId="urn:microsoft.com/office/officeart/2008/layout/HorizontalMultiLevelHierarchy"/>
    <dgm:cxn modelId="{7A18DA16-1FC3-8445-BC2C-BF0E049AB1BC}" type="presOf" srcId="{0726F871-37F4-AB40-AF73-6656D7E9C85D}" destId="{613226CB-11A4-C549-82A6-64B9BCFE1002}" srcOrd="0" destOrd="0" presId="urn:microsoft.com/office/officeart/2008/layout/HorizontalMultiLevelHierarchy"/>
    <dgm:cxn modelId="{722ACBE2-B376-CD47-9AA7-792B193D4263}" type="presOf" srcId="{E543121D-95F7-3E47-B964-B7B948211EBC}" destId="{C9D429FE-9539-9D4A-9750-F9C781598EC4}" srcOrd="1" destOrd="0" presId="urn:microsoft.com/office/officeart/2008/layout/HorizontalMultiLevelHierarchy"/>
    <dgm:cxn modelId="{476CB733-60A3-0146-8753-61C2351B6C2C}" type="presOf" srcId="{63D1AE09-4F57-A443-A1FD-2A3034962097}" destId="{B7A5E06F-5B4B-C947-BFA6-C1FA5998CE54}" srcOrd="0" destOrd="0" presId="urn:microsoft.com/office/officeart/2008/layout/HorizontalMultiLevelHierarchy"/>
    <dgm:cxn modelId="{C31F3667-90A1-F544-8E65-8D62C7DBD4BD}" type="presOf" srcId="{7E0C02E8-17C2-874D-B6DE-8E3A1D3437C9}" destId="{448042B3-2CED-424C-815C-8FD3B3AD8A39}" srcOrd="0" destOrd="0" presId="urn:microsoft.com/office/officeart/2008/layout/HorizontalMultiLevelHierarchy"/>
    <dgm:cxn modelId="{2BC2789F-8CA8-FB4C-8654-8DE02D924782}" type="presOf" srcId="{6577C284-4D20-2C4A-88D4-29EB6FEAC9C2}" destId="{A3F719CD-4C36-CF49-B90F-B8B40A2B29DE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EB8D63CC-7D75-8848-B1A1-62BB9D606426}" type="presOf" srcId="{B8771036-12B2-D843-AA17-BB631BA3F87D}" destId="{F9B786D6-8B73-AC47-BEA7-3780A17C3E39}" srcOrd="0" destOrd="0" presId="urn:microsoft.com/office/officeart/2008/layout/HorizontalMultiLevelHierarchy"/>
    <dgm:cxn modelId="{B3367329-61C6-C848-893E-74D60D596D40}" type="presOf" srcId="{C24B2AD7-9651-4B45-A8F4-0314EA8D4874}" destId="{8AD8F429-D3CB-F748-A62E-81D3E0DD1FE1}" srcOrd="0" destOrd="0" presId="urn:microsoft.com/office/officeart/2008/layout/HorizontalMultiLevelHierarchy"/>
    <dgm:cxn modelId="{6513E625-88CC-A047-BBBD-FEE0D4C689AC}" type="presOf" srcId="{488E1B12-EE7C-9246-8169-00D4E05307C4}" destId="{5E781A07-1968-A143-88EC-827822313B55}" srcOrd="0" destOrd="0" presId="urn:microsoft.com/office/officeart/2008/layout/HorizontalMultiLevelHierarchy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EC2FC2B3-FAAD-0B47-82E3-539CE368EE27}" type="presOf" srcId="{9EB1846C-ABB5-9E44-B030-7BE73C498E59}" destId="{03FF4E40-A0E8-E040-A52F-D68379DCC349}" srcOrd="1" destOrd="0" presId="urn:microsoft.com/office/officeart/2008/layout/HorizontalMultiLevelHierarchy"/>
    <dgm:cxn modelId="{4EBB012A-4B57-9341-9729-F4A88A70CA21}" type="presOf" srcId="{C0976C3D-B466-7D45-ABFB-2E3685B2F19C}" destId="{D35EA19E-870C-2F44-A620-E6B51FB2058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CCC1AA4D-0FC5-E54C-A086-535639993010}" type="presOf" srcId="{78A64519-4827-364C-A275-D5C68A949ADD}" destId="{33CE7315-72E8-4545-9EC6-56F4D0BEC64D}" srcOrd="0" destOrd="0" presId="urn:microsoft.com/office/officeart/2008/layout/HorizontalMultiLevelHierarchy"/>
    <dgm:cxn modelId="{D708DB5A-4054-4049-8F80-00E82DA0BA37}" type="presOf" srcId="{BA9C693C-1CF5-6E4E-A8C4-1E304AFD6DF5}" destId="{99E936FD-8649-9640-96D2-9202E1CEC417}" srcOrd="0" destOrd="0" presId="urn:microsoft.com/office/officeart/2008/layout/HorizontalMultiLevelHierarchy"/>
    <dgm:cxn modelId="{10683193-DA4F-B44D-9524-8BDADC3D8790}" type="presParOf" srcId="{613226CB-11A4-C549-82A6-64B9BCFE1002}" destId="{3BA40406-1E55-1642-A22A-B49F5A173AC8}" srcOrd="0" destOrd="0" presId="urn:microsoft.com/office/officeart/2008/layout/HorizontalMultiLevelHierarchy"/>
    <dgm:cxn modelId="{B5187552-DA49-6A4A-A386-E8EB18FF0548}" type="presParOf" srcId="{3BA40406-1E55-1642-A22A-B49F5A173AC8}" destId="{99E936FD-8649-9640-96D2-9202E1CEC417}" srcOrd="0" destOrd="0" presId="urn:microsoft.com/office/officeart/2008/layout/HorizontalMultiLevelHierarchy"/>
    <dgm:cxn modelId="{2E256658-7D61-304F-B9A2-9BDDD5994A3D}" type="presParOf" srcId="{3BA40406-1E55-1642-A22A-B49F5A173AC8}" destId="{598DBB90-9C26-4C4B-AC1C-FF1827BF8D97}" srcOrd="1" destOrd="0" presId="urn:microsoft.com/office/officeart/2008/layout/HorizontalMultiLevelHierarchy"/>
    <dgm:cxn modelId="{FF9979DC-3C7A-584A-9906-EB4D47E151A9}" type="presParOf" srcId="{598DBB90-9C26-4C4B-AC1C-FF1827BF8D97}" destId="{D778007E-9974-2C41-910F-E1E5562B090A}" srcOrd="0" destOrd="0" presId="urn:microsoft.com/office/officeart/2008/layout/HorizontalMultiLevelHierarchy"/>
    <dgm:cxn modelId="{BF7AE864-F444-4E49-8C1A-E25C5C97111D}" type="presParOf" srcId="{D778007E-9974-2C41-910F-E1E5562B090A}" destId="{AB33012A-8C54-6245-96E8-E0111C081E33}" srcOrd="0" destOrd="0" presId="urn:microsoft.com/office/officeart/2008/layout/HorizontalMultiLevelHierarchy"/>
    <dgm:cxn modelId="{94A216C9-63AD-C640-A260-E86A29988DAC}" type="presParOf" srcId="{598DBB90-9C26-4C4B-AC1C-FF1827BF8D97}" destId="{BCA6FE17-8DB6-0242-A6E4-C7D3971EBD97}" srcOrd="1" destOrd="0" presId="urn:microsoft.com/office/officeart/2008/layout/HorizontalMultiLevelHierarchy"/>
    <dgm:cxn modelId="{9966D94F-9451-B44A-907F-0675A348D34F}" type="presParOf" srcId="{BCA6FE17-8DB6-0242-A6E4-C7D3971EBD97}" destId="{5E781A07-1968-A143-88EC-827822313B55}" srcOrd="0" destOrd="0" presId="urn:microsoft.com/office/officeart/2008/layout/HorizontalMultiLevelHierarchy"/>
    <dgm:cxn modelId="{58F08328-2D01-2948-9A55-7EAA71DA323F}" type="presParOf" srcId="{BCA6FE17-8DB6-0242-A6E4-C7D3971EBD97}" destId="{BDDED42C-20CE-EF4E-85AA-7830E9428B23}" srcOrd="1" destOrd="0" presId="urn:microsoft.com/office/officeart/2008/layout/HorizontalMultiLevelHierarchy"/>
    <dgm:cxn modelId="{C7AB0690-BE7D-E744-B63C-B7BF06C1D665}" type="presParOf" srcId="{598DBB90-9C26-4C4B-AC1C-FF1827BF8D97}" destId="{B7A5E06F-5B4B-C947-BFA6-C1FA5998CE54}" srcOrd="2" destOrd="0" presId="urn:microsoft.com/office/officeart/2008/layout/HorizontalMultiLevelHierarchy"/>
    <dgm:cxn modelId="{5561FA06-51B1-BF4E-AEE0-939BDD506ACD}" type="presParOf" srcId="{B7A5E06F-5B4B-C947-BFA6-C1FA5998CE54}" destId="{04D949B2-6FA5-4948-B335-DDA85E4E65B1}" srcOrd="0" destOrd="0" presId="urn:microsoft.com/office/officeart/2008/layout/HorizontalMultiLevelHierarchy"/>
    <dgm:cxn modelId="{AC69B4E2-8CEB-064F-B3C1-51D45FC9EB71}" type="presParOf" srcId="{598DBB90-9C26-4C4B-AC1C-FF1827BF8D97}" destId="{5B0B9041-BDB4-7141-9957-0BEAFB33AEFE}" srcOrd="3" destOrd="0" presId="urn:microsoft.com/office/officeart/2008/layout/HorizontalMultiLevelHierarchy"/>
    <dgm:cxn modelId="{9F08D795-0B3B-B24A-97FF-A038841AB4B7}" type="presParOf" srcId="{5B0B9041-BDB4-7141-9957-0BEAFB33AEFE}" destId="{D35EA19E-870C-2F44-A620-E6B51FB20589}" srcOrd="0" destOrd="0" presId="urn:microsoft.com/office/officeart/2008/layout/HorizontalMultiLevelHierarchy"/>
    <dgm:cxn modelId="{71239B8A-7E76-2646-A889-89059073D11C}" type="presParOf" srcId="{5B0B9041-BDB4-7141-9957-0BEAFB33AEFE}" destId="{62348515-9687-1045-ADA1-3184EC8CEC61}" srcOrd="1" destOrd="0" presId="urn:microsoft.com/office/officeart/2008/layout/HorizontalMultiLevelHierarchy"/>
    <dgm:cxn modelId="{B2969FCE-3D30-B54E-811B-C8FD3772F702}" type="presParOf" srcId="{62348515-9687-1045-ADA1-3184EC8CEC61}" destId="{B541F6A1-B2AA-7447-8E11-AC7AA5D5D50B}" srcOrd="0" destOrd="0" presId="urn:microsoft.com/office/officeart/2008/layout/HorizontalMultiLevelHierarchy"/>
    <dgm:cxn modelId="{4CD3E9D4-E398-D645-8A4B-0803739B2076}" type="presParOf" srcId="{B541F6A1-B2AA-7447-8E11-AC7AA5D5D50B}" destId="{0637CC4E-4D30-724B-9FFD-C7AED88FB068}" srcOrd="0" destOrd="0" presId="urn:microsoft.com/office/officeart/2008/layout/HorizontalMultiLevelHierarchy"/>
    <dgm:cxn modelId="{854B2DE8-857F-374B-A886-84D481D3E193}" type="presParOf" srcId="{62348515-9687-1045-ADA1-3184EC8CEC61}" destId="{CA3C244E-E149-0742-ACEF-44B7ECE83631}" srcOrd="1" destOrd="0" presId="urn:microsoft.com/office/officeart/2008/layout/HorizontalMultiLevelHierarchy"/>
    <dgm:cxn modelId="{E22413C1-0DE5-2249-9D9D-1F2481D6C61E}" type="presParOf" srcId="{CA3C244E-E149-0742-ACEF-44B7ECE83631}" destId="{9FB8B136-71A7-D34F-B7EB-BD8FC5C96ECE}" srcOrd="0" destOrd="0" presId="urn:microsoft.com/office/officeart/2008/layout/HorizontalMultiLevelHierarchy"/>
    <dgm:cxn modelId="{5D6B584C-B398-2247-A1CB-502DBC976FFB}" type="presParOf" srcId="{CA3C244E-E149-0742-ACEF-44B7ECE83631}" destId="{9B46DB51-FCC5-AC41-BECD-E28037B564D0}" srcOrd="1" destOrd="0" presId="urn:microsoft.com/office/officeart/2008/layout/HorizontalMultiLevelHierarchy"/>
    <dgm:cxn modelId="{29813922-E007-C042-B650-96CF820EDA1A}" type="presParOf" srcId="{62348515-9687-1045-ADA1-3184EC8CEC61}" destId="{2C1F9B08-4495-8146-8974-2654E99B2E9A}" srcOrd="2" destOrd="0" presId="urn:microsoft.com/office/officeart/2008/layout/HorizontalMultiLevelHierarchy"/>
    <dgm:cxn modelId="{A7EC6216-EADA-5F4F-9D00-5FCA0FD162AE}" type="presParOf" srcId="{2C1F9B08-4495-8146-8974-2654E99B2E9A}" destId="{C9D429FE-9539-9D4A-9750-F9C781598EC4}" srcOrd="0" destOrd="0" presId="urn:microsoft.com/office/officeart/2008/layout/HorizontalMultiLevelHierarchy"/>
    <dgm:cxn modelId="{EFC5B283-F298-6648-BD15-11BCE4D85A8D}" type="presParOf" srcId="{62348515-9687-1045-ADA1-3184EC8CEC61}" destId="{7F107BC0-209A-4C42-BEA6-B6817D5C9E09}" srcOrd="3" destOrd="0" presId="urn:microsoft.com/office/officeart/2008/layout/HorizontalMultiLevelHierarchy"/>
    <dgm:cxn modelId="{432642C3-5931-034E-B734-D9DA80ABD65B}" type="presParOf" srcId="{7F107BC0-209A-4C42-BEA6-B6817D5C9E09}" destId="{4E546A01-1907-BB4F-B534-4E81DE6081F4}" srcOrd="0" destOrd="0" presId="urn:microsoft.com/office/officeart/2008/layout/HorizontalMultiLevelHierarchy"/>
    <dgm:cxn modelId="{D57D5460-BB97-5D4F-AB87-9EAC39A5C7D1}" type="presParOf" srcId="{7F107BC0-209A-4C42-BEA6-B6817D5C9E09}" destId="{F5393339-32D0-CE4B-9AAA-4B6A114FA39A}" srcOrd="1" destOrd="0" presId="urn:microsoft.com/office/officeart/2008/layout/HorizontalMultiLevelHierarchy"/>
    <dgm:cxn modelId="{63F8031E-5A26-CE46-8858-DAF07C4D9F96}" type="presParOf" srcId="{62348515-9687-1045-ADA1-3184EC8CEC61}" destId="{6D977B4C-E88D-6044-A647-A6CC29747BE1}" srcOrd="4" destOrd="0" presId="urn:microsoft.com/office/officeart/2008/layout/HorizontalMultiLevelHierarchy"/>
    <dgm:cxn modelId="{586E22F6-0CAC-2047-BF3D-B5D0011A9D1C}" type="presParOf" srcId="{6D977B4C-E88D-6044-A647-A6CC29747BE1}" destId="{756F0DD8-11FC-8647-8FC8-7AAB634C5717}" srcOrd="0" destOrd="0" presId="urn:microsoft.com/office/officeart/2008/layout/HorizontalMultiLevelHierarchy"/>
    <dgm:cxn modelId="{E7B775E6-794A-EC41-BF92-3A80DC8FAFF3}" type="presParOf" srcId="{62348515-9687-1045-ADA1-3184EC8CEC61}" destId="{BAA197B9-40F5-1D46-A384-973DDEA5160C}" srcOrd="5" destOrd="0" presId="urn:microsoft.com/office/officeart/2008/layout/HorizontalMultiLevelHierarchy"/>
    <dgm:cxn modelId="{2C703574-7A57-4943-927A-B68E49AE665F}" type="presParOf" srcId="{BAA197B9-40F5-1D46-A384-973DDEA5160C}" destId="{3C43B809-8F2F-3641-8339-1043D47661D7}" srcOrd="0" destOrd="0" presId="urn:microsoft.com/office/officeart/2008/layout/HorizontalMultiLevelHierarchy"/>
    <dgm:cxn modelId="{A72ABEE0-32D0-534B-BFB5-ECCD18E86786}" type="presParOf" srcId="{BAA197B9-40F5-1D46-A384-973DDEA5160C}" destId="{F59926D0-D2AF-8940-B86B-A1820706A34B}" srcOrd="1" destOrd="0" presId="urn:microsoft.com/office/officeart/2008/layout/HorizontalMultiLevelHierarchy"/>
    <dgm:cxn modelId="{1A35A3AF-BEB3-4A43-A791-F531C24840FC}" type="presParOf" srcId="{598DBB90-9C26-4C4B-AC1C-FF1827BF8D97}" destId="{1442578F-E924-E34F-9FA5-3F4C2CF65BC9}" srcOrd="4" destOrd="0" presId="urn:microsoft.com/office/officeart/2008/layout/HorizontalMultiLevelHierarchy"/>
    <dgm:cxn modelId="{991F8369-DE5E-E543-AD54-1BFA8614A1A5}" type="presParOf" srcId="{1442578F-E924-E34F-9FA5-3F4C2CF65BC9}" destId="{E59B7B1E-3287-FB43-A405-2A84667315EC}" srcOrd="0" destOrd="0" presId="urn:microsoft.com/office/officeart/2008/layout/HorizontalMultiLevelHierarchy"/>
    <dgm:cxn modelId="{5091B52B-F9FB-0C4C-906A-F44DE50B8887}" type="presParOf" srcId="{598DBB90-9C26-4C4B-AC1C-FF1827BF8D97}" destId="{6188AF91-8F5E-7F4E-A0A2-13FA32167F53}" srcOrd="5" destOrd="0" presId="urn:microsoft.com/office/officeart/2008/layout/HorizontalMultiLevelHierarchy"/>
    <dgm:cxn modelId="{6FA3AD90-5A40-2845-8F2E-DCECA6CE81D3}" type="presParOf" srcId="{6188AF91-8F5E-7F4E-A0A2-13FA32167F53}" destId="{5167760A-1265-4C43-B02A-4A72B3B39F5E}" srcOrd="0" destOrd="0" presId="urn:microsoft.com/office/officeart/2008/layout/HorizontalMultiLevelHierarchy"/>
    <dgm:cxn modelId="{25372C75-1CD3-E943-8097-03D05B4620C2}" type="presParOf" srcId="{6188AF91-8F5E-7F4E-A0A2-13FA32167F53}" destId="{21F2C295-F343-AC4A-8BE2-CFD4DAC170AE}" srcOrd="1" destOrd="0" presId="urn:microsoft.com/office/officeart/2008/layout/HorizontalMultiLevelHierarchy"/>
    <dgm:cxn modelId="{6BCD724A-B3C4-1B48-8824-8C9C1E550D04}" type="presParOf" srcId="{598DBB90-9C26-4C4B-AC1C-FF1827BF8D97}" destId="{A3F719CD-4C36-CF49-B90F-B8B40A2B29DE}" srcOrd="6" destOrd="0" presId="urn:microsoft.com/office/officeart/2008/layout/HorizontalMultiLevelHierarchy"/>
    <dgm:cxn modelId="{7BDE0FF4-7B6B-114F-A502-E3DC76EF5523}" type="presParOf" srcId="{A3F719CD-4C36-CF49-B90F-B8B40A2B29DE}" destId="{348A166D-A55E-9147-99A1-FB87A4CF61A8}" srcOrd="0" destOrd="0" presId="urn:microsoft.com/office/officeart/2008/layout/HorizontalMultiLevelHierarchy"/>
    <dgm:cxn modelId="{C88EA0A0-EFCD-CD4A-9BCD-0DB9158BFDE1}" type="presParOf" srcId="{598DBB90-9C26-4C4B-AC1C-FF1827BF8D97}" destId="{175E4F2C-D898-EE44-A4E7-79846E237DB4}" srcOrd="7" destOrd="0" presId="urn:microsoft.com/office/officeart/2008/layout/HorizontalMultiLevelHierarchy"/>
    <dgm:cxn modelId="{D081DF98-318F-2C4B-B4C9-9F5107ECA064}" type="presParOf" srcId="{175E4F2C-D898-EE44-A4E7-79846E237DB4}" destId="{921A596F-4B37-494E-B07C-17FD734C6406}" srcOrd="0" destOrd="0" presId="urn:microsoft.com/office/officeart/2008/layout/HorizontalMultiLevelHierarchy"/>
    <dgm:cxn modelId="{C271164C-B4AC-5C49-9E33-8313B0DD5A41}" type="presParOf" srcId="{175E4F2C-D898-EE44-A4E7-79846E237DB4}" destId="{A9D518F9-DAB2-4E45-9ECB-39AA13A01564}" srcOrd="1" destOrd="0" presId="urn:microsoft.com/office/officeart/2008/layout/HorizontalMultiLevelHierarchy"/>
    <dgm:cxn modelId="{F4B26F2E-5420-7540-AAD9-197FABA4EECC}" type="presParOf" srcId="{A9D518F9-DAB2-4E45-9ECB-39AA13A01564}" destId="{8AD8F429-D3CB-F748-A62E-81D3E0DD1FE1}" srcOrd="0" destOrd="0" presId="urn:microsoft.com/office/officeart/2008/layout/HorizontalMultiLevelHierarchy"/>
    <dgm:cxn modelId="{36D3B53D-D047-3946-8A65-764AD2B60582}" type="presParOf" srcId="{8AD8F429-D3CB-F748-A62E-81D3E0DD1FE1}" destId="{27DD3461-0240-774A-8774-CC1A00541B61}" srcOrd="0" destOrd="0" presId="urn:microsoft.com/office/officeart/2008/layout/HorizontalMultiLevelHierarchy"/>
    <dgm:cxn modelId="{D3FADEE5-A2CE-2045-B69D-B7287DEDCC80}" type="presParOf" srcId="{A9D518F9-DAB2-4E45-9ECB-39AA13A01564}" destId="{11FBA7F4-3D95-3448-9648-3CEA03AB03A5}" srcOrd="1" destOrd="0" presId="urn:microsoft.com/office/officeart/2008/layout/HorizontalMultiLevelHierarchy"/>
    <dgm:cxn modelId="{440C3DAE-CFCB-6741-AC21-8B8EB849502F}" type="presParOf" srcId="{11FBA7F4-3D95-3448-9648-3CEA03AB03A5}" destId="{33CE7315-72E8-4545-9EC6-56F4D0BEC64D}" srcOrd="0" destOrd="0" presId="urn:microsoft.com/office/officeart/2008/layout/HorizontalMultiLevelHierarchy"/>
    <dgm:cxn modelId="{7657B7A9-790C-8E47-8871-563EECD0EB0F}" type="presParOf" srcId="{11FBA7F4-3D95-3448-9648-3CEA03AB03A5}" destId="{F94ACA84-3A4A-0541-929E-9401CD7FB410}" srcOrd="1" destOrd="0" presId="urn:microsoft.com/office/officeart/2008/layout/HorizontalMultiLevelHierarchy"/>
    <dgm:cxn modelId="{903C4F20-B72C-3748-A3B0-02E8999F20B9}" type="presParOf" srcId="{598DBB90-9C26-4C4B-AC1C-FF1827BF8D97}" destId="{33DDFCA5-CC66-CC45-A430-EDF4DA53BA93}" srcOrd="8" destOrd="0" presId="urn:microsoft.com/office/officeart/2008/layout/HorizontalMultiLevelHierarchy"/>
    <dgm:cxn modelId="{8066A2AF-50A0-1B44-8F02-EC7543E0CF13}" type="presParOf" srcId="{33DDFCA5-CC66-CC45-A430-EDF4DA53BA93}" destId="{569810E7-365A-FB48-A979-23DA3465EF4F}" srcOrd="0" destOrd="0" presId="urn:microsoft.com/office/officeart/2008/layout/HorizontalMultiLevelHierarchy"/>
    <dgm:cxn modelId="{3ADBA6D2-5C49-0C4C-91D8-CA7921A5D62B}" type="presParOf" srcId="{598DBB90-9C26-4C4B-AC1C-FF1827BF8D97}" destId="{299D8B01-3ECB-7743-BE59-35C50BD6249A}" srcOrd="9" destOrd="0" presId="urn:microsoft.com/office/officeart/2008/layout/HorizontalMultiLevelHierarchy"/>
    <dgm:cxn modelId="{6688F43D-B361-F043-9AC7-9EA2F405B610}" type="presParOf" srcId="{299D8B01-3ECB-7743-BE59-35C50BD6249A}" destId="{03DEAF18-EC72-C047-A9B4-C65BE189F02C}" srcOrd="0" destOrd="0" presId="urn:microsoft.com/office/officeart/2008/layout/HorizontalMultiLevelHierarchy"/>
    <dgm:cxn modelId="{15A09F70-276B-6644-A137-28B4007066B7}" type="presParOf" srcId="{299D8B01-3ECB-7743-BE59-35C50BD6249A}" destId="{322C5A5A-9E25-6047-BB00-4DF750E135CE}" srcOrd="1" destOrd="0" presId="urn:microsoft.com/office/officeart/2008/layout/HorizontalMultiLevelHierarchy"/>
    <dgm:cxn modelId="{BCF62EA9-611E-9947-ACEA-3C90741A7D0A}" type="presParOf" srcId="{322C5A5A-9E25-6047-BB00-4DF750E135CE}" destId="{393A7F55-569D-7A48-ACE0-063418018375}" srcOrd="0" destOrd="0" presId="urn:microsoft.com/office/officeart/2008/layout/HorizontalMultiLevelHierarchy"/>
    <dgm:cxn modelId="{94262BEE-01E4-5F46-8B9C-DC58D82B56C3}" type="presParOf" srcId="{393A7F55-569D-7A48-ACE0-063418018375}" destId="{A635BF91-C219-EB46-A0CA-F8A2CE3D7BF3}" srcOrd="0" destOrd="0" presId="urn:microsoft.com/office/officeart/2008/layout/HorizontalMultiLevelHierarchy"/>
    <dgm:cxn modelId="{3411B6A8-53C9-AC49-86DF-52E82B0A761C}" type="presParOf" srcId="{322C5A5A-9E25-6047-BB00-4DF750E135CE}" destId="{55918953-A6CF-814A-89F9-551623EBC010}" srcOrd="1" destOrd="0" presId="urn:microsoft.com/office/officeart/2008/layout/HorizontalMultiLevelHierarchy"/>
    <dgm:cxn modelId="{9C006C1D-A9E9-D34B-A12E-583C63E0BAAF}" type="presParOf" srcId="{55918953-A6CF-814A-89F9-551623EBC010}" destId="{448042B3-2CED-424C-815C-8FD3B3AD8A39}" srcOrd="0" destOrd="0" presId="urn:microsoft.com/office/officeart/2008/layout/HorizontalMultiLevelHierarchy"/>
    <dgm:cxn modelId="{963C056C-43AA-AB46-843E-F8E8BC64A6A1}" type="presParOf" srcId="{55918953-A6CF-814A-89F9-551623EBC010}" destId="{4C59A0B4-1525-104C-AAB2-E79163983336}" srcOrd="1" destOrd="0" presId="urn:microsoft.com/office/officeart/2008/layout/HorizontalMultiLevelHierarchy"/>
    <dgm:cxn modelId="{28BC42F7-30ED-A34D-A4C5-AA321AE15597}" type="presParOf" srcId="{322C5A5A-9E25-6047-BB00-4DF750E135CE}" destId="{64F502CF-3E90-0B4E-886C-91AB3F51938D}" srcOrd="2" destOrd="0" presId="urn:microsoft.com/office/officeart/2008/layout/HorizontalMultiLevelHierarchy"/>
    <dgm:cxn modelId="{6D4C4FA2-E6AF-9A4E-877F-F65367FBC99B}" type="presParOf" srcId="{64F502CF-3E90-0B4E-886C-91AB3F51938D}" destId="{6FA82A28-C585-714B-9AF5-DA995FB3DF53}" srcOrd="0" destOrd="0" presId="urn:microsoft.com/office/officeart/2008/layout/HorizontalMultiLevelHierarchy"/>
    <dgm:cxn modelId="{ABAE11C1-36C4-9341-B5DC-B0524AA27925}" type="presParOf" srcId="{322C5A5A-9E25-6047-BB00-4DF750E135CE}" destId="{EC8B6A62-9FAE-5045-A1A4-029DC2356DF7}" srcOrd="3" destOrd="0" presId="urn:microsoft.com/office/officeart/2008/layout/HorizontalMultiLevelHierarchy"/>
    <dgm:cxn modelId="{780F941C-EFF5-344A-9FA3-826F2DA39C27}" type="presParOf" srcId="{EC8B6A62-9FAE-5045-A1A4-029DC2356DF7}" destId="{F9B786D6-8B73-AC47-BEA7-3780A17C3E39}" srcOrd="0" destOrd="0" presId="urn:microsoft.com/office/officeart/2008/layout/HorizontalMultiLevelHierarchy"/>
    <dgm:cxn modelId="{B1ED8272-B6C6-2045-9C76-CA308767CF70}" type="presParOf" srcId="{EC8B6A62-9FAE-5045-A1A4-029DC2356DF7}" destId="{6E27147E-0C63-E041-AB6B-5C0E60851726}" srcOrd="1" destOrd="0" presId="urn:microsoft.com/office/officeart/2008/layout/HorizontalMultiLevelHierarchy"/>
    <dgm:cxn modelId="{CF17F2F6-3007-3141-A002-D0D98D20D416}" type="presParOf" srcId="{598DBB90-9C26-4C4B-AC1C-FF1827BF8D97}" destId="{60914178-E972-6747-98A5-9B1042D21399}" srcOrd="10" destOrd="0" presId="urn:microsoft.com/office/officeart/2008/layout/HorizontalMultiLevelHierarchy"/>
    <dgm:cxn modelId="{61027C32-79D0-6148-B465-7E52CE00769C}" type="presParOf" srcId="{60914178-E972-6747-98A5-9B1042D21399}" destId="{03FF4E40-A0E8-E040-A52F-D68379DCC349}" srcOrd="0" destOrd="0" presId="urn:microsoft.com/office/officeart/2008/layout/HorizontalMultiLevelHierarchy"/>
    <dgm:cxn modelId="{AE303D59-A8E7-124D-BB0D-0AC13115E876}" type="presParOf" srcId="{598DBB90-9C26-4C4B-AC1C-FF1827BF8D97}" destId="{82D22835-936A-1D4B-AF7A-2D86C6FB8621}" srcOrd="11" destOrd="0" presId="urn:microsoft.com/office/officeart/2008/layout/HorizontalMultiLevelHierarchy"/>
    <dgm:cxn modelId="{ACE7BD00-B158-BD40-B49D-5FA19487573E}" type="presParOf" srcId="{82D22835-936A-1D4B-AF7A-2D86C6FB8621}" destId="{4D444EFA-484D-8B49-B53F-73AE5DAC83CB}" srcOrd="0" destOrd="0" presId="urn:microsoft.com/office/officeart/2008/layout/HorizontalMultiLevelHierarchy"/>
    <dgm:cxn modelId="{DCA331A6-2396-CD40-996F-411840FE1B8E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>
        <a:solidFill>
          <a:srgbClr val="404040"/>
        </a:solidFill>
      </dgm:spPr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0E4A244E-84D0-6741-A3BE-AF1B515F25E8}" type="presOf" srcId="{07A4D93E-7AFB-4E4D-8384-CFBE7085BD56}" destId="{9D34DFA2-4C7C-5642-ADF0-8F3EDFBC71AF}" srcOrd="1" destOrd="0" presId="urn:microsoft.com/office/officeart/2008/layout/HorizontalMultiLevelHierarchy"/>
    <dgm:cxn modelId="{9DD22FB5-44E6-D444-B02B-BF5062BACFFE}" type="presOf" srcId="{08733529-A5F0-F14D-8E75-74214329B040}" destId="{393A7F55-569D-7A48-ACE0-063418018375}" srcOrd="0" destOrd="0" presId="urn:microsoft.com/office/officeart/2008/layout/HorizontalMultiLevelHierarchy"/>
    <dgm:cxn modelId="{E804BE1D-B1CC-8E45-8AFF-A5B158E24978}" type="presOf" srcId="{11D7D97A-F1CC-6A49-92BA-1094CF9B8EE3}" destId="{84732D04-01E1-2742-A082-1195BCDCDEC2}" srcOrd="0" destOrd="0" presId="urn:microsoft.com/office/officeart/2008/layout/HorizontalMultiLevelHierarchy"/>
    <dgm:cxn modelId="{39B855B5-58F5-EB4A-8FA4-20B510A9CA41}" type="presOf" srcId="{90FBF026-5068-6043-A75B-344D047E346D}" destId="{2242491C-75CB-654B-ABCA-74AF8E25B4E8}" srcOrd="0" destOrd="0" presId="urn:microsoft.com/office/officeart/2008/layout/HorizontalMultiLevelHierarchy"/>
    <dgm:cxn modelId="{419161BE-FEA7-1E4E-A044-0295037CB75C}" type="presOf" srcId="{B3C905E3-C669-9942-AEC9-21A47474CEB4}" destId="{DB79995B-B315-9C4C-BCA0-97AF2CF960CD}" srcOrd="1" destOrd="0" presId="urn:microsoft.com/office/officeart/2008/layout/HorizontalMultiLevelHierarchy"/>
    <dgm:cxn modelId="{B45293D2-F0B3-FA41-A958-A049AFCFE923}" type="presOf" srcId="{5ADEDBF8-717E-F946-B11E-4CC50D9988C8}" destId="{D778007E-9974-2C41-910F-E1E5562B090A}" srcOrd="0" destOrd="0" presId="urn:microsoft.com/office/officeart/2008/layout/HorizontalMultiLevelHierarchy"/>
    <dgm:cxn modelId="{9894077B-2146-0B46-9FBE-BB8DD7C128FA}" type="presOf" srcId="{1333B56B-0FB7-DB46-BFA8-14BA9E09141B}" destId="{9E30CAA0-C8DA-7340-9AC5-F7AFBAE25743}" srcOrd="0" destOrd="0" presId="urn:microsoft.com/office/officeart/2008/layout/HorizontalMultiLevelHierarchy"/>
    <dgm:cxn modelId="{5E5683A4-5673-1B4E-B1A1-582B7A45DC7D}" type="presOf" srcId="{134C8002-4160-B046-917F-B9172D6D011E}" destId="{33DDFCA5-CC66-CC45-A430-EDF4DA53BA93}" srcOrd="0" destOrd="0" presId="urn:microsoft.com/office/officeart/2008/layout/HorizontalMultiLevelHierarchy"/>
    <dgm:cxn modelId="{0DC42BDE-BB04-2C44-8BC4-7ED63EEE9750}" type="presOf" srcId="{0726F871-37F4-AB40-AF73-6656D7E9C85D}" destId="{613226CB-11A4-C549-82A6-64B9BCFE1002}" srcOrd="0" destOrd="0" presId="urn:microsoft.com/office/officeart/2008/layout/HorizontalMultiLevelHierarchy"/>
    <dgm:cxn modelId="{21083523-B98B-E64A-8BE4-01985F292F3E}" type="presOf" srcId="{63D1AE09-4F57-A443-A1FD-2A3034962097}" destId="{04D949B2-6FA5-4948-B335-DDA85E4E65B1}" srcOrd="1" destOrd="0" presId="urn:microsoft.com/office/officeart/2008/layout/HorizontalMultiLevelHierarchy"/>
    <dgm:cxn modelId="{7C42C86A-DDC5-0642-BEDA-5357C817A2B4}" type="presOf" srcId="{516F75D9-69F5-0544-995D-CFB72352B59F}" destId="{887F982A-9047-D440-AFAC-0FD9C008886A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11F958-35CA-BA42-8024-CC12E6FB365A}" type="presOf" srcId="{BA9C693C-1CF5-6E4E-A8C4-1E304AFD6DF5}" destId="{99E936FD-8649-9640-96D2-9202E1CEC417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7DB32104-1872-BF44-918E-DFADCC511BDC}" type="presOf" srcId="{6577C284-4D20-2C4A-88D4-29EB6FEAC9C2}" destId="{348A166D-A55E-9147-99A1-FB87A4CF61A8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E42B0F17-BB2F-BC49-A9E5-A97847A08027}" type="presOf" srcId="{B4B50EEB-1538-DF45-B07F-7D0FD83C8ED3}" destId="{7C4C248C-9225-884B-A9F0-E626AEAE24C9}" srcOrd="1" destOrd="0" presId="urn:microsoft.com/office/officeart/2008/layout/HorizontalMultiLevelHierarchy"/>
    <dgm:cxn modelId="{051BE8F3-FAE0-9749-AD41-E69CDCADACAB}" type="presOf" srcId="{08733529-A5F0-F14D-8E75-74214329B040}" destId="{A635BF91-C219-EB46-A0CA-F8A2CE3D7BF3}" srcOrd="1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E62F2762-129A-F644-841F-4A67D489894E}" type="presOf" srcId="{5E2A7D5A-EFB6-9C4F-A960-3D6903C39497}" destId="{1442578F-E924-E34F-9FA5-3F4C2CF65BC9}" srcOrd="0" destOrd="0" presId="urn:microsoft.com/office/officeart/2008/layout/HorizontalMultiLevelHierarchy"/>
    <dgm:cxn modelId="{351A3CE5-FE6E-7247-8AC6-25257B6F5285}" type="presOf" srcId="{5ADEDBF8-717E-F946-B11E-4CC50D9988C8}" destId="{AB33012A-8C54-6245-96E8-E0111C081E33}" srcOrd="1" destOrd="0" presId="urn:microsoft.com/office/officeart/2008/layout/HorizontalMultiLevelHierarchy"/>
    <dgm:cxn modelId="{A7090CF0-9674-5F4C-9FF7-F24B1D5D9096}" type="presOf" srcId="{BBD19103-9913-2A49-AB85-F021773D5328}" destId="{64F502CF-3E90-0B4E-886C-91AB3F51938D}" srcOrd="0" destOrd="0" presId="urn:microsoft.com/office/officeart/2008/layout/HorizontalMultiLevelHierarchy"/>
    <dgm:cxn modelId="{E616D182-073E-B148-AEFE-63C8F6557B63}" type="presOf" srcId="{63D1AE09-4F57-A443-A1FD-2A3034962097}" destId="{B7A5E06F-5B4B-C947-BFA6-C1FA5998CE54}" srcOrd="0" destOrd="0" presId="urn:microsoft.com/office/officeart/2008/layout/HorizontalMultiLevelHierarchy"/>
    <dgm:cxn modelId="{040557BA-ABCB-FE4B-BA5F-3BF7F4B950C9}" type="presOf" srcId="{7E0C02E8-17C2-874D-B6DE-8E3A1D3437C9}" destId="{448042B3-2CED-424C-815C-8FD3B3AD8A39}" srcOrd="0" destOrd="0" presId="urn:microsoft.com/office/officeart/2008/layout/HorizontalMultiLevelHierarchy"/>
    <dgm:cxn modelId="{5392B80A-3D40-F443-A648-C4A758CBA7AA}" type="presOf" srcId="{BBD19103-9913-2A49-AB85-F021773D5328}" destId="{6FA82A28-C585-714B-9AF5-DA995FB3DF53}" srcOrd="1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A1231E19-05AB-A745-A575-B1F0F10D1D24}" type="presOf" srcId="{134C8002-4160-B046-917F-B9172D6D011E}" destId="{569810E7-365A-FB48-A979-23DA3465EF4F}" srcOrd="1" destOrd="0" presId="urn:microsoft.com/office/officeart/2008/layout/HorizontalMultiLevelHierarchy"/>
    <dgm:cxn modelId="{4EE8D445-CDFC-FF49-BC55-9782AAC342F9}" type="presOf" srcId="{488E1B12-EE7C-9246-8169-00D4E05307C4}" destId="{5E781A07-1968-A143-88EC-827822313B55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3DB7997-9EBD-8A41-93F3-2C3A211BF710}" type="presOf" srcId="{EF2BFDE9-4D1F-3049-B62C-65BE59459C50}" destId="{5167760A-1265-4C43-B02A-4A72B3B39F5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610A4D7-3817-F542-BE3B-9B71F1B3166F}" type="presOf" srcId="{C0976C3D-B466-7D45-ABFB-2E3685B2F19C}" destId="{D35EA19E-870C-2F44-A620-E6B51FB20589}" srcOrd="0" destOrd="0" presId="urn:microsoft.com/office/officeart/2008/layout/HorizontalMultiLevelHierarchy"/>
    <dgm:cxn modelId="{A2A98841-D9D4-7248-B05C-1422684A984E}" type="presOf" srcId="{07A4D93E-7AFB-4E4D-8384-CFBE7085BD56}" destId="{42308E2A-E89A-524C-8598-CEBE02495F6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A4190ED8-D6B1-0242-B326-60E619DF1C61}" type="presOf" srcId="{5E2A7D5A-EFB6-9C4F-A960-3D6903C39497}" destId="{E59B7B1E-3287-FB43-A405-2A84667315EC}" srcOrd="1" destOrd="0" presId="urn:microsoft.com/office/officeart/2008/layout/HorizontalMultiLevelHierarchy"/>
    <dgm:cxn modelId="{D162BB59-F399-2B48-BEE2-B04341C7BC6A}" type="presOf" srcId="{B8771036-12B2-D843-AA17-BB631BA3F87D}" destId="{F9B786D6-8B73-AC47-BEA7-3780A17C3E39}" srcOrd="0" destOrd="0" presId="urn:microsoft.com/office/officeart/2008/layout/HorizontalMultiLevelHierarchy"/>
    <dgm:cxn modelId="{3717B3CE-8A2C-A94B-BD8D-2D25C01BE8B1}" type="presOf" srcId="{174F7A28-653D-6F45-9860-935E35504EE1}" destId="{4D444EFA-484D-8B49-B53F-73AE5DAC83CB}" srcOrd="0" destOrd="0" presId="urn:microsoft.com/office/officeart/2008/layout/HorizontalMultiLevelHierarchy"/>
    <dgm:cxn modelId="{45928A77-246C-3041-95BD-D8DD76A762C7}" type="presOf" srcId="{73DD7058-02B4-D24C-9D13-AF75375EF8E6}" destId="{12E46C15-0F90-7843-8745-7EFB583D5A38}" srcOrd="1" destOrd="0" presId="urn:microsoft.com/office/officeart/2008/layout/HorizontalMultiLevelHierarchy"/>
    <dgm:cxn modelId="{B1CD2187-43AB-6B4A-A9F6-BEF1A41A7CA8}" type="presOf" srcId="{8B212141-5DD9-384A-A240-561E72DAAF7B}" destId="{21C89BDE-E13D-974B-B17D-6B6CDBB2C8DB}" srcOrd="0" destOrd="0" presId="urn:microsoft.com/office/officeart/2008/layout/HorizontalMultiLevelHierarchy"/>
    <dgm:cxn modelId="{F32C2B31-C342-8546-AC8B-52481855B362}" type="presOf" srcId="{80BD7623-DCEC-2448-AB85-7A6B177B6EBB}" destId="{73B69BAE-7567-8E4E-A9B2-D2862F6B978E}" srcOrd="0" destOrd="0" presId="urn:microsoft.com/office/officeart/2008/layout/HorizontalMultiLevelHierarchy"/>
    <dgm:cxn modelId="{099180C8-04F7-0040-A706-CC7EA1631E90}" type="presOf" srcId="{B4B50EEB-1538-DF45-B07F-7D0FD83C8ED3}" destId="{91975744-72FE-E947-98E3-ECF3B2E7C3DC}" srcOrd="0" destOrd="0" presId="urn:microsoft.com/office/officeart/2008/layout/HorizontalMultiLevelHierarchy"/>
    <dgm:cxn modelId="{70916C95-3D1B-F84B-AC69-9C7886D97D40}" type="presOf" srcId="{90FBF026-5068-6043-A75B-344D047E346D}" destId="{62990B64-CF79-7146-BF7B-48A759C6E310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4EFF1407-C1BE-1B49-8998-CCAA90E82376}" type="presOf" srcId="{B3C905E3-C669-9942-AEC9-21A47474CEB4}" destId="{996189F3-00B3-7D49-A5FC-5430A26FB618}" srcOrd="0" destOrd="0" presId="urn:microsoft.com/office/officeart/2008/layout/HorizontalMultiLevelHierarchy"/>
    <dgm:cxn modelId="{164B5B8F-BD1F-EC45-A2D1-EB00306F235E}" type="presOf" srcId="{26144DC7-9794-3E4B-BF8F-331E25884D5F}" destId="{921A596F-4B37-494E-B07C-17FD734C6406}" srcOrd="0" destOrd="0" presId="urn:microsoft.com/office/officeart/2008/layout/HorizontalMultiLevelHierarchy"/>
    <dgm:cxn modelId="{CDC9C5A7-BF3A-FA46-8F22-F48C4432604C}" type="presOf" srcId="{73DD7058-02B4-D24C-9D13-AF75375EF8E6}" destId="{55365CED-83D4-194F-A914-2CFC37CD9B45}" srcOrd="0" destOrd="0" presId="urn:microsoft.com/office/officeart/2008/layout/HorizontalMultiLevelHierarchy"/>
    <dgm:cxn modelId="{C1E1EDFC-1BC0-B44C-BE38-80A1FE4C6E49}" type="presOf" srcId="{6577C284-4D20-2C4A-88D4-29EB6FEAC9C2}" destId="{A3F719CD-4C36-CF49-B90F-B8B40A2B29DE}" srcOrd="0" destOrd="0" presId="urn:microsoft.com/office/officeart/2008/layout/HorizontalMultiLevelHierarchy"/>
    <dgm:cxn modelId="{6B507AB1-FC58-974A-924E-C1D0298CEC7C}" type="presOf" srcId="{9EB1846C-ABB5-9E44-B030-7BE73C498E59}" destId="{03FF4E40-A0E8-E040-A52F-D68379DCC349}" srcOrd="1" destOrd="0" presId="urn:microsoft.com/office/officeart/2008/layout/HorizontalMultiLevelHierarchy"/>
    <dgm:cxn modelId="{95A94A93-24A3-EE44-9FC5-7F4D9CFFACE6}" type="presOf" srcId="{9EB1846C-ABB5-9E44-B030-7BE73C498E59}" destId="{60914178-E972-6747-98A5-9B1042D21399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9FC053F2-5C26-C447-8FEF-55BA3440B7B8}" type="presOf" srcId="{990267CF-EA89-A240-9514-9AFC12BBADEE}" destId="{03DEAF18-EC72-C047-A9B4-C65BE189F02C}" srcOrd="0" destOrd="0" presId="urn:microsoft.com/office/officeart/2008/layout/HorizontalMultiLevelHierarchy"/>
    <dgm:cxn modelId="{1B942B79-1E19-E04C-A274-E43447D15C78}" type="presParOf" srcId="{613226CB-11A4-C549-82A6-64B9BCFE1002}" destId="{3BA40406-1E55-1642-A22A-B49F5A173AC8}" srcOrd="0" destOrd="0" presId="urn:microsoft.com/office/officeart/2008/layout/HorizontalMultiLevelHierarchy"/>
    <dgm:cxn modelId="{F909EAE9-184E-1748-BBA9-9CB6B2C4C67C}" type="presParOf" srcId="{3BA40406-1E55-1642-A22A-B49F5A173AC8}" destId="{99E936FD-8649-9640-96D2-9202E1CEC417}" srcOrd="0" destOrd="0" presId="urn:microsoft.com/office/officeart/2008/layout/HorizontalMultiLevelHierarchy"/>
    <dgm:cxn modelId="{5E157218-F2C7-5645-91F2-F48287F0AE7F}" type="presParOf" srcId="{3BA40406-1E55-1642-A22A-B49F5A173AC8}" destId="{598DBB90-9C26-4C4B-AC1C-FF1827BF8D97}" srcOrd="1" destOrd="0" presId="urn:microsoft.com/office/officeart/2008/layout/HorizontalMultiLevelHierarchy"/>
    <dgm:cxn modelId="{47937B6C-B773-7D46-A4D0-AFB71A6082D3}" type="presParOf" srcId="{598DBB90-9C26-4C4B-AC1C-FF1827BF8D97}" destId="{D778007E-9974-2C41-910F-E1E5562B090A}" srcOrd="0" destOrd="0" presId="urn:microsoft.com/office/officeart/2008/layout/HorizontalMultiLevelHierarchy"/>
    <dgm:cxn modelId="{2B439921-D77C-B348-9B7F-0932D1798632}" type="presParOf" srcId="{D778007E-9974-2C41-910F-E1E5562B090A}" destId="{AB33012A-8C54-6245-96E8-E0111C081E33}" srcOrd="0" destOrd="0" presId="urn:microsoft.com/office/officeart/2008/layout/HorizontalMultiLevelHierarchy"/>
    <dgm:cxn modelId="{8555FA8D-B50E-0748-83B3-091FCAF6D507}" type="presParOf" srcId="{598DBB90-9C26-4C4B-AC1C-FF1827BF8D97}" destId="{BCA6FE17-8DB6-0242-A6E4-C7D3971EBD97}" srcOrd="1" destOrd="0" presId="urn:microsoft.com/office/officeart/2008/layout/HorizontalMultiLevelHierarchy"/>
    <dgm:cxn modelId="{CB67F82D-7554-444E-9E06-95C4DC8C0111}" type="presParOf" srcId="{BCA6FE17-8DB6-0242-A6E4-C7D3971EBD97}" destId="{5E781A07-1968-A143-88EC-827822313B55}" srcOrd="0" destOrd="0" presId="urn:microsoft.com/office/officeart/2008/layout/HorizontalMultiLevelHierarchy"/>
    <dgm:cxn modelId="{BEE13104-7765-604E-81B7-F9900E26844D}" type="presParOf" srcId="{BCA6FE17-8DB6-0242-A6E4-C7D3971EBD97}" destId="{BDDED42C-20CE-EF4E-85AA-7830E9428B23}" srcOrd="1" destOrd="0" presId="urn:microsoft.com/office/officeart/2008/layout/HorizontalMultiLevelHierarchy"/>
    <dgm:cxn modelId="{FC9BF24B-93A4-DF48-837F-3C8A78842A92}" type="presParOf" srcId="{598DBB90-9C26-4C4B-AC1C-FF1827BF8D97}" destId="{B7A5E06F-5B4B-C947-BFA6-C1FA5998CE54}" srcOrd="2" destOrd="0" presId="urn:microsoft.com/office/officeart/2008/layout/HorizontalMultiLevelHierarchy"/>
    <dgm:cxn modelId="{7C5A793F-1491-6844-89CE-95BE15F97DCB}" type="presParOf" srcId="{B7A5E06F-5B4B-C947-BFA6-C1FA5998CE54}" destId="{04D949B2-6FA5-4948-B335-DDA85E4E65B1}" srcOrd="0" destOrd="0" presId="urn:microsoft.com/office/officeart/2008/layout/HorizontalMultiLevelHierarchy"/>
    <dgm:cxn modelId="{F6AE735B-8E4E-4E46-9706-EA6A75EB916E}" type="presParOf" srcId="{598DBB90-9C26-4C4B-AC1C-FF1827BF8D97}" destId="{5B0B9041-BDB4-7141-9957-0BEAFB33AEFE}" srcOrd="3" destOrd="0" presId="urn:microsoft.com/office/officeart/2008/layout/HorizontalMultiLevelHierarchy"/>
    <dgm:cxn modelId="{58807A51-4EAE-DA41-B959-8C0E44C50D2B}" type="presParOf" srcId="{5B0B9041-BDB4-7141-9957-0BEAFB33AEFE}" destId="{D35EA19E-870C-2F44-A620-E6B51FB20589}" srcOrd="0" destOrd="0" presId="urn:microsoft.com/office/officeart/2008/layout/HorizontalMultiLevelHierarchy"/>
    <dgm:cxn modelId="{8343DD14-43D7-8743-B904-3C9F15A7B2CA}" type="presParOf" srcId="{5B0B9041-BDB4-7141-9957-0BEAFB33AEFE}" destId="{62348515-9687-1045-ADA1-3184EC8CEC61}" srcOrd="1" destOrd="0" presId="urn:microsoft.com/office/officeart/2008/layout/HorizontalMultiLevelHierarchy"/>
    <dgm:cxn modelId="{B1F855A4-27C4-4942-8441-9E8E22E11F66}" type="presParOf" srcId="{598DBB90-9C26-4C4B-AC1C-FF1827BF8D97}" destId="{42308E2A-E89A-524C-8598-CEBE02495F63}" srcOrd="4" destOrd="0" presId="urn:microsoft.com/office/officeart/2008/layout/HorizontalMultiLevelHierarchy"/>
    <dgm:cxn modelId="{17F8C291-1221-9B47-8A32-385C6F56228A}" type="presParOf" srcId="{42308E2A-E89A-524C-8598-CEBE02495F63}" destId="{9D34DFA2-4C7C-5642-ADF0-8F3EDFBC71AF}" srcOrd="0" destOrd="0" presId="urn:microsoft.com/office/officeart/2008/layout/HorizontalMultiLevelHierarchy"/>
    <dgm:cxn modelId="{C4A959ED-38FC-E64C-ACDF-ED378D803124}" type="presParOf" srcId="{598DBB90-9C26-4C4B-AC1C-FF1827BF8D97}" destId="{5A37FE29-273D-2F4A-BA74-A981AFDF7035}" srcOrd="5" destOrd="0" presId="urn:microsoft.com/office/officeart/2008/layout/HorizontalMultiLevelHierarchy"/>
    <dgm:cxn modelId="{EFCEC321-5991-3445-942C-5EF2B57E9401}" type="presParOf" srcId="{5A37FE29-273D-2F4A-BA74-A981AFDF7035}" destId="{887F982A-9047-D440-AFAC-0FD9C008886A}" srcOrd="0" destOrd="0" presId="urn:microsoft.com/office/officeart/2008/layout/HorizontalMultiLevelHierarchy"/>
    <dgm:cxn modelId="{2683727F-820C-8042-977F-960AF5CCE891}" type="presParOf" srcId="{5A37FE29-273D-2F4A-BA74-A981AFDF7035}" destId="{740B7AF0-357F-C843-8A5C-C85C349471AE}" srcOrd="1" destOrd="0" presId="urn:microsoft.com/office/officeart/2008/layout/HorizontalMultiLevelHierarchy"/>
    <dgm:cxn modelId="{78D05985-77D0-FD49-AB03-6B7B2AE2953B}" type="presParOf" srcId="{598DBB90-9C26-4C4B-AC1C-FF1827BF8D97}" destId="{996189F3-00B3-7D49-A5FC-5430A26FB618}" srcOrd="6" destOrd="0" presId="urn:microsoft.com/office/officeart/2008/layout/HorizontalMultiLevelHierarchy"/>
    <dgm:cxn modelId="{870F73B0-0A8A-3044-853F-68E7CAE55929}" type="presParOf" srcId="{996189F3-00B3-7D49-A5FC-5430A26FB618}" destId="{DB79995B-B315-9C4C-BCA0-97AF2CF960CD}" srcOrd="0" destOrd="0" presId="urn:microsoft.com/office/officeart/2008/layout/HorizontalMultiLevelHierarchy"/>
    <dgm:cxn modelId="{1BEB1B8F-C44D-A741-AE06-50E770F2B0F0}" type="presParOf" srcId="{598DBB90-9C26-4C4B-AC1C-FF1827BF8D97}" destId="{7361FCA1-91C1-7340-94A4-772CB0377746}" srcOrd="7" destOrd="0" presId="urn:microsoft.com/office/officeart/2008/layout/HorizontalMultiLevelHierarchy"/>
    <dgm:cxn modelId="{2EB3D82D-CF77-4B4C-8668-C53DB9247F82}" type="presParOf" srcId="{7361FCA1-91C1-7340-94A4-772CB0377746}" destId="{9E30CAA0-C8DA-7340-9AC5-F7AFBAE25743}" srcOrd="0" destOrd="0" presId="urn:microsoft.com/office/officeart/2008/layout/HorizontalMultiLevelHierarchy"/>
    <dgm:cxn modelId="{E5BC867F-05EB-6345-8179-06226CE47AF0}" type="presParOf" srcId="{7361FCA1-91C1-7340-94A4-772CB0377746}" destId="{75AE1B1C-8672-CF47-8665-1AE6D32AB23F}" srcOrd="1" destOrd="0" presId="urn:microsoft.com/office/officeart/2008/layout/HorizontalMultiLevelHierarchy"/>
    <dgm:cxn modelId="{A50CC0E3-8B96-7544-98CC-9DC87F63F685}" type="presParOf" srcId="{598DBB90-9C26-4C4B-AC1C-FF1827BF8D97}" destId="{1442578F-E924-E34F-9FA5-3F4C2CF65BC9}" srcOrd="8" destOrd="0" presId="urn:microsoft.com/office/officeart/2008/layout/HorizontalMultiLevelHierarchy"/>
    <dgm:cxn modelId="{FEEC74A4-AD31-C049-A20B-48083D1EA92A}" type="presParOf" srcId="{1442578F-E924-E34F-9FA5-3F4C2CF65BC9}" destId="{E59B7B1E-3287-FB43-A405-2A84667315EC}" srcOrd="0" destOrd="0" presId="urn:microsoft.com/office/officeart/2008/layout/HorizontalMultiLevelHierarchy"/>
    <dgm:cxn modelId="{FCC6CD41-2E7B-FF46-BE0B-76EEC858A4E3}" type="presParOf" srcId="{598DBB90-9C26-4C4B-AC1C-FF1827BF8D97}" destId="{6188AF91-8F5E-7F4E-A0A2-13FA32167F53}" srcOrd="9" destOrd="0" presId="urn:microsoft.com/office/officeart/2008/layout/HorizontalMultiLevelHierarchy"/>
    <dgm:cxn modelId="{F8C0409F-8307-9540-9D95-5BB7A48FFEBC}" type="presParOf" srcId="{6188AF91-8F5E-7F4E-A0A2-13FA32167F53}" destId="{5167760A-1265-4C43-B02A-4A72B3B39F5E}" srcOrd="0" destOrd="0" presId="urn:microsoft.com/office/officeart/2008/layout/HorizontalMultiLevelHierarchy"/>
    <dgm:cxn modelId="{51E3BAFD-3E39-6F40-8F11-4EEC271E8005}" type="presParOf" srcId="{6188AF91-8F5E-7F4E-A0A2-13FA32167F53}" destId="{21F2C295-F343-AC4A-8BE2-CFD4DAC170AE}" srcOrd="1" destOrd="0" presId="urn:microsoft.com/office/officeart/2008/layout/HorizontalMultiLevelHierarchy"/>
    <dgm:cxn modelId="{62366B44-2243-AA42-A590-AAA8F8C34429}" type="presParOf" srcId="{598DBB90-9C26-4C4B-AC1C-FF1827BF8D97}" destId="{A3F719CD-4C36-CF49-B90F-B8B40A2B29DE}" srcOrd="10" destOrd="0" presId="urn:microsoft.com/office/officeart/2008/layout/HorizontalMultiLevelHierarchy"/>
    <dgm:cxn modelId="{71C3A9B9-C584-2943-8E9A-5389AA24D5A6}" type="presParOf" srcId="{A3F719CD-4C36-CF49-B90F-B8B40A2B29DE}" destId="{348A166D-A55E-9147-99A1-FB87A4CF61A8}" srcOrd="0" destOrd="0" presId="urn:microsoft.com/office/officeart/2008/layout/HorizontalMultiLevelHierarchy"/>
    <dgm:cxn modelId="{60CE6221-3CD9-EC4B-8154-FDE0BC893B02}" type="presParOf" srcId="{598DBB90-9C26-4C4B-AC1C-FF1827BF8D97}" destId="{175E4F2C-D898-EE44-A4E7-79846E237DB4}" srcOrd="11" destOrd="0" presId="urn:microsoft.com/office/officeart/2008/layout/HorizontalMultiLevelHierarchy"/>
    <dgm:cxn modelId="{26E8F6C4-88D7-A34C-BA4A-B235FC988694}" type="presParOf" srcId="{175E4F2C-D898-EE44-A4E7-79846E237DB4}" destId="{921A596F-4B37-494E-B07C-17FD734C6406}" srcOrd="0" destOrd="0" presId="urn:microsoft.com/office/officeart/2008/layout/HorizontalMultiLevelHierarchy"/>
    <dgm:cxn modelId="{4B69C18B-A7F1-4E42-BF15-738E3F11649B}" type="presParOf" srcId="{175E4F2C-D898-EE44-A4E7-79846E237DB4}" destId="{A9D518F9-DAB2-4E45-9ECB-39AA13A01564}" srcOrd="1" destOrd="0" presId="urn:microsoft.com/office/officeart/2008/layout/HorizontalMultiLevelHierarchy"/>
    <dgm:cxn modelId="{5117BD8F-5567-3743-93F5-897DB8EF2BC9}" type="presParOf" srcId="{598DBB90-9C26-4C4B-AC1C-FF1827BF8D97}" destId="{33DDFCA5-CC66-CC45-A430-EDF4DA53BA93}" srcOrd="12" destOrd="0" presId="urn:microsoft.com/office/officeart/2008/layout/HorizontalMultiLevelHierarchy"/>
    <dgm:cxn modelId="{CFFF2737-FB64-BD47-BC53-CBAAA8DC7546}" type="presParOf" srcId="{33DDFCA5-CC66-CC45-A430-EDF4DA53BA93}" destId="{569810E7-365A-FB48-A979-23DA3465EF4F}" srcOrd="0" destOrd="0" presId="urn:microsoft.com/office/officeart/2008/layout/HorizontalMultiLevelHierarchy"/>
    <dgm:cxn modelId="{D5B56CCB-9AFB-B040-9C42-F1CC97C44B3D}" type="presParOf" srcId="{598DBB90-9C26-4C4B-AC1C-FF1827BF8D97}" destId="{299D8B01-3ECB-7743-BE59-35C50BD6249A}" srcOrd="13" destOrd="0" presId="urn:microsoft.com/office/officeart/2008/layout/HorizontalMultiLevelHierarchy"/>
    <dgm:cxn modelId="{F1467226-6EAA-1F40-A124-FE84EB45EAFF}" type="presParOf" srcId="{299D8B01-3ECB-7743-BE59-35C50BD6249A}" destId="{03DEAF18-EC72-C047-A9B4-C65BE189F02C}" srcOrd="0" destOrd="0" presId="urn:microsoft.com/office/officeart/2008/layout/HorizontalMultiLevelHierarchy"/>
    <dgm:cxn modelId="{7FB8D6CD-302D-534A-8203-8E5898584E3A}" type="presParOf" srcId="{299D8B01-3ECB-7743-BE59-35C50BD6249A}" destId="{322C5A5A-9E25-6047-BB00-4DF750E135CE}" srcOrd="1" destOrd="0" presId="urn:microsoft.com/office/officeart/2008/layout/HorizontalMultiLevelHierarchy"/>
    <dgm:cxn modelId="{A03FF6EE-96BE-7D47-989D-6DFAAB3D6A0F}" type="presParOf" srcId="{322C5A5A-9E25-6047-BB00-4DF750E135CE}" destId="{393A7F55-569D-7A48-ACE0-063418018375}" srcOrd="0" destOrd="0" presId="urn:microsoft.com/office/officeart/2008/layout/HorizontalMultiLevelHierarchy"/>
    <dgm:cxn modelId="{3D62803B-56D0-9141-BEEA-D53820942D76}" type="presParOf" srcId="{393A7F55-569D-7A48-ACE0-063418018375}" destId="{A635BF91-C219-EB46-A0CA-F8A2CE3D7BF3}" srcOrd="0" destOrd="0" presId="urn:microsoft.com/office/officeart/2008/layout/HorizontalMultiLevelHierarchy"/>
    <dgm:cxn modelId="{DA0D770B-FA69-B44D-ADA1-E5F516F4F902}" type="presParOf" srcId="{322C5A5A-9E25-6047-BB00-4DF750E135CE}" destId="{55918953-A6CF-814A-89F9-551623EBC010}" srcOrd="1" destOrd="0" presId="urn:microsoft.com/office/officeart/2008/layout/HorizontalMultiLevelHierarchy"/>
    <dgm:cxn modelId="{5F9ABA79-91CA-ED4C-86E1-C7060B71F1D0}" type="presParOf" srcId="{55918953-A6CF-814A-89F9-551623EBC010}" destId="{448042B3-2CED-424C-815C-8FD3B3AD8A39}" srcOrd="0" destOrd="0" presId="urn:microsoft.com/office/officeart/2008/layout/HorizontalMultiLevelHierarchy"/>
    <dgm:cxn modelId="{4180258E-478A-1C4A-A2E4-46D64D2F241D}" type="presParOf" srcId="{55918953-A6CF-814A-89F9-551623EBC010}" destId="{4C59A0B4-1525-104C-AAB2-E79163983336}" srcOrd="1" destOrd="0" presId="urn:microsoft.com/office/officeart/2008/layout/HorizontalMultiLevelHierarchy"/>
    <dgm:cxn modelId="{74CDB797-C4E5-374B-9FFA-BAE1AA249E8E}" type="presParOf" srcId="{322C5A5A-9E25-6047-BB00-4DF750E135CE}" destId="{64F502CF-3E90-0B4E-886C-91AB3F51938D}" srcOrd="2" destOrd="0" presId="urn:microsoft.com/office/officeart/2008/layout/HorizontalMultiLevelHierarchy"/>
    <dgm:cxn modelId="{EC9B0466-DEEC-704D-82AD-037860E42929}" type="presParOf" srcId="{64F502CF-3E90-0B4E-886C-91AB3F51938D}" destId="{6FA82A28-C585-714B-9AF5-DA995FB3DF53}" srcOrd="0" destOrd="0" presId="urn:microsoft.com/office/officeart/2008/layout/HorizontalMultiLevelHierarchy"/>
    <dgm:cxn modelId="{BB7DF907-CD61-CA4B-A55B-A25B7FEF7F6C}" type="presParOf" srcId="{322C5A5A-9E25-6047-BB00-4DF750E135CE}" destId="{EC8B6A62-9FAE-5045-A1A4-029DC2356DF7}" srcOrd="3" destOrd="0" presId="urn:microsoft.com/office/officeart/2008/layout/HorizontalMultiLevelHierarchy"/>
    <dgm:cxn modelId="{24EB9600-A96F-3949-8E32-D66FCE9F7F0D}" type="presParOf" srcId="{EC8B6A62-9FAE-5045-A1A4-029DC2356DF7}" destId="{F9B786D6-8B73-AC47-BEA7-3780A17C3E39}" srcOrd="0" destOrd="0" presId="urn:microsoft.com/office/officeart/2008/layout/HorizontalMultiLevelHierarchy"/>
    <dgm:cxn modelId="{34710AC0-94F8-E84E-A5C6-FBAD07BAC0A2}" type="presParOf" srcId="{EC8B6A62-9FAE-5045-A1A4-029DC2356DF7}" destId="{6E27147E-0C63-E041-AB6B-5C0E60851726}" srcOrd="1" destOrd="0" presId="urn:microsoft.com/office/officeart/2008/layout/HorizontalMultiLevelHierarchy"/>
    <dgm:cxn modelId="{3CD1417D-9B57-D44B-85E3-D02C9996CEF9}" type="presParOf" srcId="{598DBB90-9C26-4C4B-AC1C-FF1827BF8D97}" destId="{60914178-E972-6747-98A5-9B1042D21399}" srcOrd="14" destOrd="0" presId="urn:microsoft.com/office/officeart/2008/layout/HorizontalMultiLevelHierarchy"/>
    <dgm:cxn modelId="{2A734DC0-433B-8E4D-9945-5C7FD701C35F}" type="presParOf" srcId="{60914178-E972-6747-98A5-9B1042D21399}" destId="{03FF4E40-A0E8-E040-A52F-D68379DCC349}" srcOrd="0" destOrd="0" presId="urn:microsoft.com/office/officeart/2008/layout/HorizontalMultiLevelHierarchy"/>
    <dgm:cxn modelId="{A5FFD551-E594-3E4C-9E82-B50A339A53E8}" type="presParOf" srcId="{598DBB90-9C26-4C4B-AC1C-FF1827BF8D97}" destId="{82D22835-936A-1D4B-AF7A-2D86C6FB8621}" srcOrd="15" destOrd="0" presId="urn:microsoft.com/office/officeart/2008/layout/HorizontalMultiLevelHierarchy"/>
    <dgm:cxn modelId="{E390A26D-B0CA-A94F-8ACB-CDAF45B7582A}" type="presParOf" srcId="{82D22835-936A-1D4B-AF7A-2D86C6FB8621}" destId="{4D444EFA-484D-8B49-B53F-73AE5DAC83CB}" srcOrd="0" destOrd="0" presId="urn:microsoft.com/office/officeart/2008/layout/HorizontalMultiLevelHierarchy"/>
    <dgm:cxn modelId="{67E2F4EB-DCB0-D34A-8F7C-C6F6FAF486B4}" type="presParOf" srcId="{82D22835-936A-1D4B-AF7A-2D86C6FB8621}" destId="{780003EA-E55D-2544-948D-2BA68EB5F8A9}" srcOrd="1" destOrd="0" presId="urn:microsoft.com/office/officeart/2008/layout/HorizontalMultiLevelHierarchy"/>
    <dgm:cxn modelId="{BE19E687-5018-D347-AE05-DAC47740E959}" type="presParOf" srcId="{598DBB90-9C26-4C4B-AC1C-FF1827BF8D97}" destId="{91975744-72FE-E947-98E3-ECF3B2E7C3DC}" srcOrd="16" destOrd="0" presId="urn:microsoft.com/office/officeart/2008/layout/HorizontalMultiLevelHierarchy"/>
    <dgm:cxn modelId="{9A8C6905-B4A9-3145-A76E-E99B74CF030F}" type="presParOf" srcId="{91975744-72FE-E947-98E3-ECF3B2E7C3DC}" destId="{7C4C248C-9225-884B-A9F0-E626AEAE24C9}" srcOrd="0" destOrd="0" presId="urn:microsoft.com/office/officeart/2008/layout/HorizontalMultiLevelHierarchy"/>
    <dgm:cxn modelId="{4C495D93-FEE5-2744-AF7C-610BD2EDFDE5}" type="presParOf" srcId="{598DBB90-9C26-4C4B-AC1C-FF1827BF8D97}" destId="{FD91877E-03C5-8D41-B768-0E4703294F6C}" srcOrd="17" destOrd="0" presId="urn:microsoft.com/office/officeart/2008/layout/HorizontalMultiLevelHierarchy"/>
    <dgm:cxn modelId="{FB199347-287B-AE4C-A037-E2366BA8D48F}" type="presParOf" srcId="{FD91877E-03C5-8D41-B768-0E4703294F6C}" destId="{73B69BAE-7567-8E4E-A9B2-D2862F6B978E}" srcOrd="0" destOrd="0" presId="urn:microsoft.com/office/officeart/2008/layout/HorizontalMultiLevelHierarchy"/>
    <dgm:cxn modelId="{16C6FE10-62A8-8842-BE3F-CEFBEF343D3F}" type="presParOf" srcId="{FD91877E-03C5-8D41-B768-0E4703294F6C}" destId="{27C85358-980A-884D-9DDA-63018758070E}" srcOrd="1" destOrd="0" presId="urn:microsoft.com/office/officeart/2008/layout/HorizontalMultiLevelHierarchy"/>
    <dgm:cxn modelId="{E9DFB22E-F2ED-5745-BAF5-4D091423E1EB}" type="presParOf" srcId="{27C85358-980A-884D-9DDA-63018758070E}" destId="{55365CED-83D4-194F-A914-2CFC37CD9B45}" srcOrd="0" destOrd="0" presId="urn:microsoft.com/office/officeart/2008/layout/HorizontalMultiLevelHierarchy"/>
    <dgm:cxn modelId="{1E8A926F-5969-B34E-ADDE-D747FC614687}" type="presParOf" srcId="{55365CED-83D4-194F-A914-2CFC37CD9B45}" destId="{12E46C15-0F90-7843-8745-7EFB583D5A38}" srcOrd="0" destOrd="0" presId="urn:microsoft.com/office/officeart/2008/layout/HorizontalMultiLevelHierarchy"/>
    <dgm:cxn modelId="{2A23963A-0B35-E841-B0F9-3B3A194E5AC2}" type="presParOf" srcId="{27C85358-980A-884D-9DDA-63018758070E}" destId="{76889E03-95A4-234A-BE0C-87E6CEF02D37}" srcOrd="1" destOrd="0" presId="urn:microsoft.com/office/officeart/2008/layout/HorizontalMultiLevelHierarchy"/>
    <dgm:cxn modelId="{836D6882-06A5-D443-8252-C363EF67402B}" type="presParOf" srcId="{76889E03-95A4-234A-BE0C-87E6CEF02D37}" destId="{21C89BDE-E13D-974B-B17D-6B6CDBB2C8DB}" srcOrd="0" destOrd="0" presId="urn:microsoft.com/office/officeart/2008/layout/HorizontalMultiLevelHierarchy"/>
    <dgm:cxn modelId="{B00E7132-95FB-2949-9BCC-47F9F35F26E7}" type="presParOf" srcId="{76889E03-95A4-234A-BE0C-87E6CEF02D37}" destId="{FB25556A-79E0-D042-8EE4-421CC8CFEFD5}" srcOrd="1" destOrd="0" presId="urn:microsoft.com/office/officeart/2008/layout/HorizontalMultiLevelHierarchy"/>
    <dgm:cxn modelId="{963F4B37-6291-E643-A804-D636C61F8542}" type="presParOf" srcId="{27C85358-980A-884D-9DDA-63018758070E}" destId="{2242491C-75CB-654B-ABCA-74AF8E25B4E8}" srcOrd="2" destOrd="0" presId="urn:microsoft.com/office/officeart/2008/layout/HorizontalMultiLevelHierarchy"/>
    <dgm:cxn modelId="{C437DEE5-5BD6-FC44-B121-B86F39FBF487}" type="presParOf" srcId="{2242491C-75CB-654B-ABCA-74AF8E25B4E8}" destId="{62990B64-CF79-7146-BF7B-48A759C6E310}" srcOrd="0" destOrd="0" presId="urn:microsoft.com/office/officeart/2008/layout/HorizontalMultiLevelHierarchy"/>
    <dgm:cxn modelId="{ED6425FC-6457-D64C-BCB4-3AA6EECF83F0}" type="presParOf" srcId="{27C85358-980A-884D-9DDA-63018758070E}" destId="{34BC8C0B-A669-9B42-82AD-78E158ADEE5B}" srcOrd="3" destOrd="0" presId="urn:microsoft.com/office/officeart/2008/layout/HorizontalMultiLevelHierarchy"/>
    <dgm:cxn modelId="{388E5435-B935-504D-A46C-9DD77D9CA79B}" type="presParOf" srcId="{34BC8C0B-A669-9B42-82AD-78E158ADEE5B}" destId="{84732D04-01E1-2742-A082-1195BCDCDEC2}" srcOrd="0" destOrd="0" presId="urn:microsoft.com/office/officeart/2008/layout/HorizontalMultiLevelHierarchy"/>
    <dgm:cxn modelId="{F834F516-800B-464E-8AC7-6A69A85AAABD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19EF2826-F508-C745-A919-7345EAB6CBCC}" type="presOf" srcId="{90FBF026-5068-6043-A75B-344D047E346D}" destId="{62990B64-CF79-7146-BF7B-48A759C6E310}" srcOrd="1" destOrd="0" presId="urn:microsoft.com/office/officeart/2008/layout/HorizontalMultiLevelHierarchy"/>
    <dgm:cxn modelId="{8962FA38-A018-7B47-90AF-7637C14BA4C2}" type="presOf" srcId="{134C8002-4160-B046-917F-B9172D6D011E}" destId="{33DDFCA5-CC66-CC45-A430-EDF4DA53BA93}" srcOrd="0" destOrd="0" presId="urn:microsoft.com/office/officeart/2008/layout/HorizontalMultiLevelHierarchy"/>
    <dgm:cxn modelId="{33B416D9-2233-F642-AD8F-36B6D5ACA8BA}" type="presOf" srcId="{6577C284-4D20-2C4A-88D4-29EB6FEAC9C2}" destId="{348A166D-A55E-9147-99A1-FB87A4CF61A8}" srcOrd="1" destOrd="0" presId="urn:microsoft.com/office/officeart/2008/layout/HorizontalMultiLevelHierarchy"/>
    <dgm:cxn modelId="{E94E1081-F509-B843-9F0B-EA5AF9901413}" type="presOf" srcId="{6577C284-4D20-2C4A-88D4-29EB6FEAC9C2}" destId="{A3F719CD-4C36-CF49-B90F-B8B40A2B29DE}" srcOrd="0" destOrd="0" presId="urn:microsoft.com/office/officeart/2008/layout/HorizontalMultiLevelHierarchy"/>
    <dgm:cxn modelId="{63104812-A5F0-0741-A24D-85FE1543C10F}" type="presOf" srcId="{EF2BFDE9-4D1F-3049-B62C-65BE59459C50}" destId="{5167760A-1265-4C43-B02A-4A72B3B39F5E}" srcOrd="0" destOrd="0" presId="urn:microsoft.com/office/officeart/2008/layout/HorizontalMultiLevelHierarchy"/>
    <dgm:cxn modelId="{CDD82E17-C405-D841-A49F-320304A068CE}" type="presOf" srcId="{BBD19103-9913-2A49-AB85-F021773D5328}" destId="{64F502CF-3E90-0B4E-886C-91AB3F51938D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6400C3B-7BE8-1642-A85C-4A6FADC2DA9E}" type="presOf" srcId="{63D1AE09-4F57-A443-A1FD-2A3034962097}" destId="{04D949B2-6FA5-4948-B335-DDA85E4E65B1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F10CD282-354E-144E-8023-D45B377079D2}" type="presOf" srcId="{1333B56B-0FB7-DB46-BFA8-14BA9E09141B}" destId="{9E30CAA0-C8DA-7340-9AC5-F7AFBAE25743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42E5552F-5A66-5C44-ABAA-496E716B039A}" type="presOf" srcId="{488E1B12-EE7C-9246-8169-00D4E05307C4}" destId="{5E781A07-1968-A143-88EC-827822313B55}" srcOrd="0" destOrd="0" presId="urn:microsoft.com/office/officeart/2008/layout/HorizontalMultiLevelHierarchy"/>
    <dgm:cxn modelId="{9318C7A7-B920-8D4F-9501-375F81049514}" type="presOf" srcId="{B8771036-12B2-D843-AA17-BB631BA3F87D}" destId="{F9B786D6-8B73-AC47-BEA7-3780A17C3E39}" srcOrd="0" destOrd="0" presId="urn:microsoft.com/office/officeart/2008/layout/HorizontalMultiLevelHierarchy"/>
    <dgm:cxn modelId="{E04372EB-6543-834A-8D23-E5D14D930334}" type="presOf" srcId="{B4B50EEB-1538-DF45-B07F-7D0FD83C8ED3}" destId="{7C4C248C-9225-884B-A9F0-E626AEAE24C9}" srcOrd="1" destOrd="0" presId="urn:microsoft.com/office/officeart/2008/layout/HorizontalMultiLevelHierarchy"/>
    <dgm:cxn modelId="{147FDFFE-78D3-C64E-B907-9DB5A8434CE7}" type="presOf" srcId="{26144DC7-9794-3E4B-BF8F-331E25884D5F}" destId="{921A596F-4B37-494E-B07C-17FD734C6406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6DBCE50-D103-6147-A36D-DD4682E7886D}" type="presOf" srcId="{73DD7058-02B4-D24C-9D13-AF75375EF8E6}" destId="{12E46C15-0F90-7843-8745-7EFB583D5A38}" srcOrd="1" destOrd="0" presId="urn:microsoft.com/office/officeart/2008/layout/HorizontalMultiLevelHierarchy"/>
    <dgm:cxn modelId="{22C8E771-83EB-B04B-B38F-64479F7A1450}" type="presOf" srcId="{C0976C3D-B466-7D45-ABFB-2E3685B2F19C}" destId="{D35EA19E-870C-2F44-A620-E6B51FB20589}" srcOrd="0" destOrd="0" presId="urn:microsoft.com/office/officeart/2008/layout/HorizontalMultiLevelHierarchy"/>
    <dgm:cxn modelId="{59E3B3A3-5FD0-D54A-ABBD-57DA39EEBD1C}" type="presOf" srcId="{5E2A7D5A-EFB6-9C4F-A960-3D6903C39497}" destId="{1442578F-E924-E34F-9FA5-3F4C2CF65BC9}" srcOrd="0" destOrd="0" presId="urn:microsoft.com/office/officeart/2008/layout/HorizontalMultiLevelHierarchy"/>
    <dgm:cxn modelId="{63BEC6DF-3DED-C746-BE4C-7EF4B52B3990}" type="presOf" srcId="{B3C905E3-C669-9942-AEC9-21A47474CEB4}" destId="{996189F3-00B3-7D49-A5FC-5430A26FB618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8EA8B4E3-5A1F-1A47-8DE2-9F2DB0266B5C}" type="presOf" srcId="{990267CF-EA89-A240-9514-9AFC12BBADEE}" destId="{03DEAF18-EC72-C047-A9B4-C65BE189F02C}" srcOrd="0" destOrd="0" presId="urn:microsoft.com/office/officeart/2008/layout/HorizontalMultiLevelHierarchy"/>
    <dgm:cxn modelId="{BEEBEE50-8600-A04B-B593-0090427FBC7F}" type="presOf" srcId="{5ADEDBF8-717E-F946-B11E-4CC50D9988C8}" destId="{AB33012A-8C54-6245-96E8-E0111C081E33}" srcOrd="1" destOrd="0" presId="urn:microsoft.com/office/officeart/2008/layout/HorizontalMultiLevelHierarchy"/>
    <dgm:cxn modelId="{738C8A62-D8D5-F14E-B6CF-E8BF908FDCB0}" type="presOf" srcId="{174F7A28-653D-6F45-9860-935E35504EE1}" destId="{4D444EFA-484D-8B49-B53F-73AE5DAC83CB}" srcOrd="0" destOrd="0" presId="urn:microsoft.com/office/officeart/2008/layout/HorizontalMultiLevelHierarchy"/>
    <dgm:cxn modelId="{FB43B97D-106C-684B-912B-7BD4A936135B}" type="presOf" srcId="{90FBF026-5068-6043-A75B-344D047E346D}" destId="{2242491C-75CB-654B-ABCA-74AF8E25B4E8}" srcOrd="0" destOrd="0" presId="urn:microsoft.com/office/officeart/2008/layout/HorizontalMultiLevelHierarchy"/>
    <dgm:cxn modelId="{220B84B7-3C59-9A42-82BB-59E3917A4B15}" type="presOf" srcId="{8B212141-5DD9-384A-A240-561E72DAAF7B}" destId="{21C89BDE-E13D-974B-B17D-6B6CDBB2C8DB}" srcOrd="0" destOrd="0" presId="urn:microsoft.com/office/officeart/2008/layout/HorizontalMultiLevelHierarchy"/>
    <dgm:cxn modelId="{2A39E6CC-35E9-D040-9694-81972817EE8B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CB2E8217-3CCA-F344-BB3B-FB0DF73C0C80}" type="presOf" srcId="{134C8002-4160-B046-917F-B9172D6D011E}" destId="{569810E7-365A-FB48-A979-23DA3465EF4F}" srcOrd="1" destOrd="0" presId="urn:microsoft.com/office/officeart/2008/layout/HorizontalMultiLevelHierarchy"/>
    <dgm:cxn modelId="{89BCFFAC-51A8-9040-81CD-9774D359E06E}" type="presOf" srcId="{9EB1846C-ABB5-9E44-B030-7BE73C498E59}" destId="{03FF4E40-A0E8-E040-A52F-D68379DCC349}" srcOrd="1" destOrd="0" presId="urn:microsoft.com/office/officeart/2008/layout/HorizontalMultiLevelHierarchy"/>
    <dgm:cxn modelId="{319194E7-82EA-7841-AA48-0657A505E030}" type="presOf" srcId="{BBD19103-9913-2A49-AB85-F021773D5328}" destId="{6FA82A28-C585-714B-9AF5-DA995FB3DF5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9E471949-A931-9249-BF3D-3B77700F4465}" type="presOf" srcId="{07A4D93E-7AFB-4E4D-8384-CFBE7085BD56}" destId="{9D34DFA2-4C7C-5642-ADF0-8F3EDFBC71AF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9C94EB30-2E3F-1C41-BA83-B32ACC57F967}" type="presOf" srcId="{63D1AE09-4F57-A443-A1FD-2A3034962097}" destId="{B7A5E06F-5B4B-C947-BFA6-C1FA5998CE54}" srcOrd="0" destOrd="0" presId="urn:microsoft.com/office/officeart/2008/layout/HorizontalMultiLevelHierarchy"/>
    <dgm:cxn modelId="{4B842749-4293-6B49-8C02-68610457A659}" type="presOf" srcId="{BA9C693C-1CF5-6E4E-A8C4-1E304AFD6DF5}" destId="{99E936FD-8649-9640-96D2-9202E1CEC417}" srcOrd="0" destOrd="0" presId="urn:microsoft.com/office/officeart/2008/layout/HorizontalMultiLevelHierarchy"/>
    <dgm:cxn modelId="{92111159-F116-D641-8885-6A318558C5B0}" type="presOf" srcId="{B3C905E3-C669-9942-AEC9-21A47474CEB4}" destId="{DB79995B-B315-9C4C-BCA0-97AF2CF960CD}" srcOrd="1" destOrd="0" presId="urn:microsoft.com/office/officeart/2008/layout/HorizontalMultiLevelHierarchy"/>
    <dgm:cxn modelId="{4B8D2157-6FDC-724B-89EC-FB5631886544}" type="presOf" srcId="{7E0C02E8-17C2-874D-B6DE-8E3A1D3437C9}" destId="{448042B3-2CED-424C-815C-8FD3B3AD8A39}" srcOrd="0" destOrd="0" presId="urn:microsoft.com/office/officeart/2008/layout/HorizontalMultiLevelHierarchy"/>
    <dgm:cxn modelId="{EEFBC2E3-48B6-C04D-90D4-70A91413F07D}" type="presOf" srcId="{07A4D93E-7AFB-4E4D-8384-CFBE7085BD56}" destId="{42308E2A-E89A-524C-8598-CEBE02495F63}" srcOrd="0" destOrd="0" presId="urn:microsoft.com/office/officeart/2008/layout/HorizontalMultiLevelHierarchy"/>
    <dgm:cxn modelId="{9D40215A-03C9-0641-8E55-8778AA0FD2DC}" type="presOf" srcId="{0726F871-37F4-AB40-AF73-6656D7E9C85D}" destId="{613226CB-11A4-C549-82A6-64B9BCFE1002}" srcOrd="0" destOrd="0" presId="urn:microsoft.com/office/officeart/2008/layout/HorizontalMultiLevelHierarchy"/>
    <dgm:cxn modelId="{F2ECEBFA-B7D4-CD48-85CF-1E9F86089778}" type="presOf" srcId="{5E2A7D5A-EFB6-9C4F-A960-3D6903C39497}" destId="{E59B7B1E-3287-FB43-A405-2A84667315EC}" srcOrd="1" destOrd="0" presId="urn:microsoft.com/office/officeart/2008/layout/HorizontalMultiLevelHierarchy"/>
    <dgm:cxn modelId="{B6730C75-29BB-974E-8BCA-4574CF9AC586}" type="presOf" srcId="{11D7D97A-F1CC-6A49-92BA-1094CF9B8EE3}" destId="{84732D04-01E1-2742-A082-1195BCDCDEC2}" srcOrd="0" destOrd="0" presId="urn:microsoft.com/office/officeart/2008/layout/HorizontalMultiLevelHierarchy"/>
    <dgm:cxn modelId="{AFB99FD1-BD18-BA49-8C99-92D9DA9037C8}" type="presOf" srcId="{80BD7623-DCEC-2448-AB85-7A6B177B6EBB}" destId="{73B69BAE-7567-8E4E-A9B2-D2862F6B978E}" srcOrd="0" destOrd="0" presId="urn:microsoft.com/office/officeart/2008/layout/HorizontalMultiLevelHierarchy"/>
    <dgm:cxn modelId="{19C6ADA7-1944-0947-99D2-053D679E9D59}" type="presOf" srcId="{9EB1846C-ABB5-9E44-B030-7BE73C498E59}" destId="{60914178-E972-6747-98A5-9B1042D2139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5EDAE0DC-D4D8-D840-A405-D26359040ACE}" type="presOf" srcId="{08733529-A5F0-F14D-8E75-74214329B040}" destId="{393A7F55-569D-7A48-ACE0-063418018375}" srcOrd="0" destOrd="0" presId="urn:microsoft.com/office/officeart/2008/layout/HorizontalMultiLevelHierarchy"/>
    <dgm:cxn modelId="{FD704D91-037F-604B-BEC6-E147F9BBA8A7}" type="presOf" srcId="{5ADEDBF8-717E-F946-B11E-4CC50D9988C8}" destId="{D778007E-9974-2C41-910F-E1E5562B090A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0C29F241-F0A1-0E46-A6EC-7E35A64A2601}" type="presOf" srcId="{08733529-A5F0-F14D-8E75-74214329B040}" destId="{A635BF91-C219-EB46-A0CA-F8A2CE3D7BF3}" srcOrd="1" destOrd="0" presId="urn:microsoft.com/office/officeart/2008/layout/HorizontalMultiLevelHierarchy"/>
    <dgm:cxn modelId="{1CB74ECA-B7E3-6247-88BF-9BC0BB5DA8F2}" type="presOf" srcId="{516F75D9-69F5-0544-995D-CFB72352B59F}" destId="{887F982A-9047-D440-AFAC-0FD9C008886A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3B67FD61-23E2-A249-AA46-6A7BBE844171}" type="presOf" srcId="{73DD7058-02B4-D24C-9D13-AF75375EF8E6}" destId="{55365CED-83D4-194F-A914-2CFC37CD9B45}" srcOrd="0" destOrd="0" presId="urn:microsoft.com/office/officeart/2008/layout/HorizontalMultiLevelHierarchy"/>
    <dgm:cxn modelId="{CBB92A1A-09D5-5B44-A9C8-F4B368D25DFD}" type="presParOf" srcId="{613226CB-11A4-C549-82A6-64B9BCFE1002}" destId="{3BA40406-1E55-1642-A22A-B49F5A173AC8}" srcOrd="0" destOrd="0" presId="urn:microsoft.com/office/officeart/2008/layout/HorizontalMultiLevelHierarchy"/>
    <dgm:cxn modelId="{DD240758-4B3A-5547-80D7-FB75995AE82A}" type="presParOf" srcId="{3BA40406-1E55-1642-A22A-B49F5A173AC8}" destId="{99E936FD-8649-9640-96D2-9202E1CEC417}" srcOrd="0" destOrd="0" presId="urn:microsoft.com/office/officeart/2008/layout/HorizontalMultiLevelHierarchy"/>
    <dgm:cxn modelId="{6245C5D5-FBE1-0548-9ECC-793FC6BED937}" type="presParOf" srcId="{3BA40406-1E55-1642-A22A-B49F5A173AC8}" destId="{598DBB90-9C26-4C4B-AC1C-FF1827BF8D97}" srcOrd="1" destOrd="0" presId="urn:microsoft.com/office/officeart/2008/layout/HorizontalMultiLevelHierarchy"/>
    <dgm:cxn modelId="{39C7B139-DF72-1149-95DA-0C741223A48E}" type="presParOf" srcId="{598DBB90-9C26-4C4B-AC1C-FF1827BF8D97}" destId="{D778007E-9974-2C41-910F-E1E5562B090A}" srcOrd="0" destOrd="0" presId="urn:microsoft.com/office/officeart/2008/layout/HorizontalMultiLevelHierarchy"/>
    <dgm:cxn modelId="{EF49FF8C-E71E-E048-B0EF-9C7655020964}" type="presParOf" srcId="{D778007E-9974-2C41-910F-E1E5562B090A}" destId="{AB33012A-8C54-6245-96E8-E0111C081E33}" srcOrd="0" destOrd="0" presId="urn:microsoft.com/office/officeart/2008/layout/HorizontalMultiLevelHierarchy"/>
    <dgm:cxn modelId="{87A53A39-9665-0B4C-A72E-32CC36157BC9}" type="presParOf" srcId="{598DBB90-9C26-4C4B-AC1C-FF1827BF8D97}" destId="{BCA6FE17-8DB6-0242-A6E4-C7D3971EBD97}" srcOrd="1" destOrd="0" presId="urn:microsoft.com/office/officeart/2008/layout/HorizontalMultiLevelHierarchy"/>
    <dgm:cxn modelId="{1D17875B-0241-7D48-B8F9-A7A081B784C8}" type="presParOf" srcId="{BCA6FE17-8DB6-0242-A6E4-C7D3971EBD97}" destId="{5E781A07-1968-A143-88EC-827822313B55}" srcOrd="0" destOrd="0" presId="urn:microsoft.com/office/officeart/2008/layout/HorizontalMultiLevelHierarchy"/>
    <dgm:cxn modelId="{F3F02D99-DF99-6045-9559-E548A4315818}" type="presParOf" srcId="{BCA6FE17-8DB6-0242-A6E4-C7D3971EBD97}" destId="{BDDED42C-20CE-EF4E-85AA-7830E9428B23}" srcOrd="1" destOrd="0" presId="urn:microsoft.com/office/officeart/2008/layout/HorizontalMultiLevelHierarchy"/>
    <dgm:cxn modelId="{9C2F0197-2D31-1445-897A-800170C9A716}" type="presParOf" srcId="{598DBB90-9C26-4C4B-AC1C-FF1827BF8D97}" destId="{B7A5E06F-5B4B-C947-BFA6-C1FA5998CE54}" srcOrd="2" destOrd="0" presId="urn:microsoft.com/office/officeart/2008/layout/HorizontalMultiLevelHierarchy"/>
    <dgm:cxn modelId="{C557FA68-286C-D941-8EA8-2C24429303B1}" type="presParOf" srcId="{B7A5E06F-5B4B-C947-BFA6-C1FA5998CE54}" destId="{04D949B2-6FA5-4948-B335-DDA85E4E65B1}" srcOrd="0" destOrd="0" presId="urn:microsoft.com/office/officeart/2008/layout/HorizontalMultiLevelHierarchy"/>
    <dgm:cxn modelId="{E0BF6E87-DB11-9A47-AF52-99F65296CA35}" type="presParOf" srcId="{598DBB90-9C26-4C4B-AC1C-FF1827BF8D97}" destId="{5B0B9041-BDB4-7141-9957-0BEAFB33AEFE}" srcOrd="3" destOrd="0" presId="urn:microsoft.com/office/officeart/2008/layout/HorizontalMultiLevelHierarchy"/>
    <dgm:cxn modelId="{88B9CB6F-A786-F649-A397-D377E7889A9A}" type="presParOf" srcId="{5B0B9041-BDB4-7141-9957-0BEAFB33AEFE}" destId="{D35EA19E-870C-2F44-A620-E6B51FB20589}" srcOrd="0" destOrd="0" presId="urn:microsoft.com/office/officeart/2008/layout/HorizontalMultiLevelHierarchy"/>
    <dgm:cxn modelId="{018D2CE7-CF25-F74B-886B-304BD1F7E9E8}" type="presParOf" srcId="{5B0B9041-BDB4-7141-9957-0BEAFB33AEFE}" destId="{62348515-9687-1045-ADA1-3184EC8CEC61}" srcOrd="1" destOrd="0" presId="urn:microsoft.com/office/officeart/2008/layout/HorizontalMultiLevelHierarchy"/>
    <dgm:cxn modelId="{AC1C267F-B1A9-C04F-AB06-EACDCE5D8C73}" type="presParOf" srcId="{598DBB90-9C26-4C4B-AC1C-FF1827BF8D97}" destId="{42308E2A-E89A-524C-8598-CEBE02495F63}" srcOrd="4" destOrd="0" presId="urn:microsoft.com/office/officeart/2008/layout/HorizontalMultiLevelHierarchy"/>
    <dgm:cxn modelId="{560B0B73-01FF-FD46-8262-2FA404BB7742}" type="presParOf" srcId="{42308E2A-E89A-524C-8598-CEBE02495F63}" destId="{9D34DFA2-4C7C-5642-ADF0-8F3EDFBC71AF}" srcOrd="0" destOrd="0" presId="urn:microsoft.com/office/officeart/2008/layout/HorizontalMultiLevelHierarchy"/>
    <dgm:cxn modelId="{D85BF3E1-B4C3-6343-84FA-FC16BB2650AB}" type="presParOf" srcId="{598DBB90-9C26-4C4B-AC1C-FF1827BF8D97}" destId="{5A37FE29-273D-2F4A-BA74-A981AFDF7035}" srcOrd="5" destOrd="0" presId="urn:microsoft.com/office/officeart/2008/layout/HorizontalMultiLevelHierarchy"/>
    <dgm:cxn modelId="{7E43CF9A-3B47-0240-B045-4CB927DF3E43}" type="presParOf" srcId="{5A37FE29-273D-2F4A-BA74-A981AFDF7035}" destId="{887F982A-9047-D440-AFAC-0FD9C008886A}" srcOrd="0" destOrd="0" presId="urn:microsoft.com/office/officeart/2008/layout/HorizontalMultiLevelHierarchy"/>
    <dgm:cxn modelId="{D73A3AB1-63A5-0E4B-90F1-A2FB5FDCB907}" type="presParOf" srcId="{5A37FE29-273D-2F4A-BA74-A981AFDF7035}" destId="{740B7AF0-357F-C843-8A5C-C85C349471AE}" srcOrd="1" destOrd="0" presId="urn:microsoft.com/office/officeart/2008/layout/HorizontalMultiLevelHierarchy"/>
    <dgm:cxn modelId="{7CE60963-B1DE-B349-B72C-C2440234070F}" type="presParOf" srcId="{598DBB90-9C26-4C4B-AC1C-FF1827BF8D97}" destId="{996189F3-00B3-7D49-A5FC-5430A26FB618}" srcOrd="6" destOrd="0" presId="urn:microsoft.com/office/officeart/2008/layout/HorizontalMultiLevelHierarchy"/>
    <dgm:cxn modelId="{4813BAFB-7AE4-2F46-9D32-3A653469101E}" type="presParOf" srcId="{996189F3-00B3-7D49-A5FC-5430A26FB618}" destId="{DB79995B-B315-9C4C-BCA0-97AF2CF960CD}" srcOrd="0" destOrd="0" presId="urn:microsoft.com/office/officeart/2008/layout/HorizontalMultiLevelHierarchy"/>
    <dgm:cxn modelId="{575151EE-8B33-1246-9A02-A07BD6C2B3C9}" type="presParOf" srcId="{598DBB90-9C26-4C4B-AC1C-FF1827BF8D97}" destId="{7361FCA1-91C1-7340-94A4-772CB0377746}" srcOrd="7" destOrd="0" presId="urn:microsoft.com/office/officeart/2008/layout/HorizontalMultiLevelHierarchy"/>
    <dgm:cxn modelId="{FB03AE2E-299A-4548-9E21-D72AA76740AF}" type="presParOf" srcId="{7361FCA1-91C1-7340-94A4-772CB0377746}" destId="{9E30CAA0-C8DA-7340-9AC5-F7AFBAE25743}" srcOrd="0" destOrd="0" presId="urn:microsoft.com/office/officeart/2008/layout/HorizontalMultiLevelHierarchy"/>
    <dgm:cxn modelId="{DBF18770-E93B-BA4B-BBA8-93C5B9C38362}" type="presParOf" srcId="{7361FCA1-91C1-7340-94A4-772CB0377746}" destId="{75AE1B1C-8672-CF47-8665-1AE6D32AB23F}" srcOrd="1" destOrd="0" presId="urn:microsoft.com/office/officeart/2008/layout/HorizontalMultiLevelHierarchy"/>
    <dgm:cxn modelId="{F2749EAB-FF46-F14E-AAB8-42A82515B312}" type="presParOf" srcId="{598DBB90-9C26-4C4B-AC1C-FF1827BF8D97}" destId="{1442578F-E924-E34F-9FA5-3F4C2CF65BC9}" srcOrd="8" destOrd="0" presId="urn:microsoft.com/office/officeart/2008/layout/HorizontalMultiLevelHierarchy"/>
    <dgm:cxn modelId="{D7FE54FD-363D-F74A-9D7B-DD7B2086E32D}" type="presParOf" srcId="{1442578F-E924-E34F-9FA5-3F4C2CF65BC9}" destId="{E59B7B1E-3287-FB43-A405-2A84667315EC}" srcOrd="0" destOrd="0" presId="urn:microsoft.com/office/officeart/2008/layout/HorizontalMultiLevelHierarchy"/>
    <dgm:cxn modelId="{A4913A31-4648-3142-A9F0-3D0CE9BC2B17}" type="presParOf" srcId="{598DBB90-9C26-4C4B-AC1C-FF1827BF8D97}" destId="{6188AF91-8F5E-7F4E-A0A2-13FA32167F53}" srcOrd="9" destOrd="0" presId="urn:microsoft.com/office/officeart/2008/layout/HorizontalMultiLevelHierarchy"/>
    <dgm:cxn modelId="{D6499688-8E18-8841-A068-8214C9A1613A}" type="presParOf" srcId="{6188AF91-8F5E-7F4E-A0A2-13FA32167F53}" destId="{5167760A-1265-4C43-B02A-4A72B3B39F5E}" srcOrd="0" destOrd="0" presId="urn:microsoft.com/office/officeart/2008/layout/HorizontalMultiLevelHierarchy"/>
    <dgm:cxn modelId="{5ADEBB54-85A3-A14F-9641-6E25B0EE04CE}" type="presParOf" srcId="{6188AF91-8F5E-7F4E-A0A2-13FA32167F53}" destId="{21F2C295-F343-AC4A-8BE2-CFD4DAC170AE}" srcOrd="1" destOrd="0" presId="urn:microsoft.com/office/officeart/2008/layout/HorizontalMultiLevelHierarchy"/>
    <dgm:cxn modelId="{E420E231-75ED-4040-9122-4FF0E65CEA2B}" type="presParOf" srcId="{598DBB90-9C26-4C4B-AC1C-FF1827BF8D97}" destId="{A3F719CD-4C36-CF49-B90F-B8B40A2B29DE}" srcOrd="10" destOrd="0" presId="urn:microsoft.com/office/officeart/2008/layout/HorizontalMultiLevelHierarchy"/>
    <dgm:cxn modelId="{09C822B8-4766-EB41-9FE9-46603BC4E6EC}" type="presParOf" srcId="{A3F719CD-4C36-CF49-B90F-B8B40A2B29DE}" destId="{348A166D-A55E-9147-99A1-FB87A4CF61A8}" srcOrd="0" destOrd="0" presId="urn:microsoft.com/office/officeart/2008/layout/HorizontalMultiLevelHierarchy"/>
    <dgm:cxn modelId="{4FC0E3CE-515E-AA45-B25A-3B1861F26105}" type="presParOf" srcId="{598DBB90-9C26-4C4B-AC1C-FF1827BF8D97}" destId="{175E4F2C-D898-EE44-A4E7-79846E237DB4}" srcOrd="11" destOrd="0" presId="urn:microsoft.com/office/officeart/2008/layout/HorizontalMultiLevelHierarchy"/>
    <dgm:cxn modelId="{466EF253-12B1-0847-9823-CA94F1F4FC46}" type="presParOf" srcId="{175E4F2C-D898-EE44-A4E7-79846E237DB4}" destId="{921A596F-4B37-494E-B07C-17FD734C6406}" srcOrd="0" destOrd="0" presId="urn:microsoft.com/office/officeart/2008/layout/HorizontalMultiLevelHierarchy"/>
    <dgm:cxn modelId="{BFB04127-968E-1747-9954-A5E84B385BA8}" type="presParOf" srcId="{175E4F2C-D898-EE44-A4E7-79846E237DB4}" destId="{A9D518F9-DAB2-4E45-9ECB-39AA13A01564}" srcOrd="1" destOrd="0" presId="urn:microsoft.com/office/officeart/2008/layout/HorizontalMultiLevelHierarchy"/>
    <dgm:cxn modelId="{82B14995-4FD8-DA4C-850A-FF2540C2DB93}" type="presParOf" srcId="{598DBB90-9C26-4C4B-AC1C-FF1827BF8D97}" destId="{33DDFCA5-CC66-CC45-A430-EDF4DA53BA93}" srcOrd="12" destOrd="0" presId="urn:microsoft.com/office/officeart/2008/layout/HorizontalMultiLevelHierarchy"/>
    <dgm:cxn modelId="{638953E8-3B1B-AA47-B952-43C7CB9A018F}" type="presParOf" srcId="{33DDFCA5-CC66-CC45-A430-EDF4DA53BA93}" destId="{569810E7-365A-FB48-A979-23DA3465EF4F}" srcOrd="0" destOrd="0" presId="urn:microsoft.com/office/officeart/2008/layout/HorizontalMultiLevelHierarchy"/>
    <dgm:cxn modelId="{703DCDC5-DE12-3A43-B4B1-F0D155C91BF1}" type="presParOf" srcId="{598DBB90-9C26-4C4B-AC1C-FF1827BF8D97}" destId="{299D8B01-3ECB-7743-BE59-35C50BD6249A}" srcOrd="13" destOrd="0" presId="urn:microsoft.com/office/officeart/2008/layout/HorizontalMultiLevelHierarchy"/>
    <dgm:cxn modelId="{C4DC06E8-F7FC-DD41-A26B-81223D5DAB6A}" type="presParOf" srcId="{299D8B01-3ECB-7743-BE59-35C50BD6249A}" destId="{03DEAF18-EC72-C047-A9B4-C65BE189F02C}" srcOrd="0" destOrd="0" presId="urn:microsoft.com/office/officeart/2008/layout/HorizontalMultiLevelHierarchy"/>
    <dgm:cxn modelId="{03275CDF-B8F2-8049-91E6-0D78046A58E4}" type="presParOf" srcId="{299D8B01-3ECB-7743-BE59-35C50BD6249A}" destId="{322C5A5A-9E25-6047-BB00-4DF750E135CE}" srcOrd="1" destOrd="0" presId="urn:microsoft.com/office/officeart/2008/layout/HorizontalMultiLevelHierarchy"/>
    <dgm:cxn modelId="{EB93ECFC-4D95-8848-B1CF-ACF2DD9C10F7}" type="presParOf" srcId="{322C5A5A-9E25-6047-BB00-4DF750E135CE}" destId="{393A7F55-569D-7A48-ACE0-063418018375}" srcOrd="0" destOrd="0" presId="urn:microsoft.com/office/officeart/2008/layout/HorizontalMultiLevelHierarchy"/>
    <dgm:cxn modelId="{6ED39999-0798-8F4D-8393-13F0E79F8224}" type="presParOf" srcId="{393A7F55-569D-7A48-ACE0-063418018375}" destId="{A635BF91-C219-EB46-A0CA-F8A2CE3D7BF3}" srcOrd="0" destOrd="0" presId="urn:microsoft.com/office/officeart/2008/layout/HorizontalMultiLevelHierarchy"/>
    <dgm:cxn modelId="{824157BA-AE4C-2043-B566-98D5D93075A3}" type="presParOf" srcId="{322C5A5A-9E25-6047-BB00-4DF750E135CE}" destId="{55918953-A6CF-814A-89F9-551623EBC010}" srcOrd="1" destOrd="0" presId="urn:microsoft.com/office/officeart/2008/layout/HorizontalMultiLevelHierarchy"/>
    <dgm:cxn modelId="{238D7C0C-B050-3044-9793-4B782B7908F0}" type="presParOf" srcId="{55918953-A6CF-814A-89F9-551623EBC010}" destId="{448042B3-2CED-424C-815C-8FD3B3AD8A39}" srcOrd="0" destOrd="0" presId="urn:microsoft.com/office/officeart/2008/layout/HorizontalMultiLevelHierarchy"/>
    <dgm:cxn modelId="{B1D5CE78-AF61-CE4B-86B2-B6D2730EEC1C}" type="presParOf" srcId="{55918953-A6CF-814A-89F9-551623EBC010}" destId="{4C59A0B4-1525-104C-AAB2-E79163983336}" srcOrd="1" destOrd="0" presId="urn:microsoft.com/office/officeart/2008/layout/HorizontalMultiLevelHierarchy"/>
    <dgm:cxn modelId="{08D52612-3D1C-774E-BAC5-C902EF9D42F7}" type="presParOf" srcId="{322C5A5A-9E25-6047-BB00-4DF750E135CE}" destId="{64F502CF-3E90-0B4E-886C-91AB3F51938D}" srcOrd="2" destOrd="0" presId="urn:microsoft.com/office/officeart/2008/layout/HorizontalMultiLevelHierarchy"/>
    <dgm:cxn modelId="{EEAD15F3-C487-6446-ABFC-C701BD84DE39}" type="presParOf" srcId="{64F502CF-3E90-0B4E-886C-91AB3F51938D}" destId="{6FA82A28-C585-714B-9AF5-DA995FB3DF53}" srcOrd="0" destOrd="0" presId="urn:microsoft.com/office/officeart/2008/layout/HorizontalMultiLevelHierarchy"/>
    <dgm:cxn modelId="{628D437F-AC27-B04D-8CA7-5444E21CE6CC}" type="presParOf" srcId="{322C5A5A-9E25-6047-BB00-4DF750E135CE}" destId="{EC8B6A62-9FAE-5045-A1A4-029DC2356DF7}" srcOrd="3" destOrd="0" presId="urn:microsoft.com/office/officeart/2008/layout/HorizontalMultiLevelHierarchy"/>
    <dgm:cxn modelId="{BCE7B1E8-1491-1544-97FA-D1D42BFF8B53}" type="presParOf" srcId="{EC8B6A62-9FAE-5045-A1A4-029DC2356DF7}" destId="{F9B786D6-8B73-AC47-BEA7-3780A17C3E39}" srcOrd="0" destOrd="0" presId="urn:microsoft.com/office/officeart/2008/layout/HorizontalMultiLevelHierarchy"/>
    <dgm:cxn modelId="{A4E8A5B5-8775-C34C-B935-0B55281B5441}" type="presParOf" srcId="{EC8B6A62-9FAE-5045-A1A4-029DC2356DF7}" destId="{6E27147E-0C63-E041-AB6B-5C0E60851726}" srcOrd="1" destOrd="0" presId="urn:microsoft.com/office/officeart/2008/layout/HorizontalMultiLevelHierarchy"/>
    <dgm:cxn modelId="{EC67E623-3FC6-014F-94FB-B1801EABC549}" type="presParOf" srcId="{598DBB90-9C26-4C4B-AC1C-FF1827BF8D97}" destId="{60914178-E972-6747-98A5-9B1042D21399}" srcOrd="14" destOrd="0" presId="urn:microsoft.com/office/officeart/2008/layout/HorizontalMultiLevelHierarchy"/>
    <dgm:cxn modelId="{B3A5E2DF-71F7-1D48-ACB2-6114F1D8CEF7}" type="presParOf" srcId="{60914178-E972-6747-98A5-9B1042D21399}" destId="{03FF4E40-A0E8-E040-A52F-D68379DCC349}" srcOrd="0" destOrd="0" presId="urn:microsoft.com/office/officeart/2008/layout/HorizontalMultiLevelHierarchy"/>
    <dgm:cxn modelId="{91D65DD7-3B54-9440-A696-E098955541C0}" type="presParOf" srcId="{598DBB90-9C26-4C4B-AC1C-FF1827BF8D97}" destId="{82D22835-936A-1D4B-AF7A-2D86C6FB8621}" srcOrd="15" destOrd="0" presId="urn:microsoft.com/office/officeart/2008/layout/HorizontalMultiLevelHierarchy"/>
    <dgm:cxn modelId="{6DBD7673-8EC4-4248-A8FB-842A60C9AADB}" type="presParOf" srcId="{82D22835-936A-1D4B-AF7A-2D86C6FB8621}" destId="{4D444EFA-484D-8B49-B53F-73AE5DAC83CB}" srcOrd="0" destOrd="0" presId="urn:microsoft.com/office/officeart/2008/layout/HorizontalMultiLevelHierarchy"/>
    <dgm:cxn modelId="{9C7ACB69-5DBA-3F49-B402-5E4796C6DEF2}" type="presParOf" srcId="{82D22835-936A-1D4B-AF7A-2D86C6FB8621}" destId="{780003EA-E55D-2544-948D-2BA68EB5F8A9}" srcOrd="1" destOrd="0" presId="urn:microsoft.com/office/officeart/2008/layout/HorizontalMultiLevelHierarchy"/>
    <dgm:cxn modelId="{9623D491-32A6-1341-AEC8-580E10FADA04}" type="presParOf" srcId="{598DBB90-9C26-4C4B-AC1C-FF1827BF8D97}" destId="{91975744-72FE-E947-98E3-ECF3B2E7C3DC}" srcOrd="16" destOrd="0" presId="urn:microsoft.com/office/officeart/2008/layout/HorizontalMultiLevelHierarchy"/>
    <dgm:cxn modelId="{F5D43CB6-7AC2-CC44-8678-3349A836098A}" type="presParOf" srcId="{91975744-72FE-E947-98E3-ECF3B2E7C3DC}" destId="{7C4C248C-9225-884B-A9F0-E626AEAE24C9}" srcOrd="0" destOrd="0" presId="urn:microsoft.com/office/officeart/2008/layout/HorizontalMultiLevelHierarchy"/>
    <dgm:cxn modelId="{1143A1BD-2987-424A-8318-B016050E571A}" type="presParOf" srcId="{598DBB90-9C26-4C4B-AC1C-FF1827BF8D97}" destId="{FD91877E-03C5-8D41-B768-0E4703294F6C}" srcOrd="17" destOrd="0" presId="urn:microsoft.com/office/officeart/2008/layout/HorizontalMultiLevelHierarchy"/>
    <dgm:cxn modelId="{B7F20C1D-55EF-9340-B781-E05191A66866}" type="presParOf" srcId="{FD91877E-03C5-8D41-B768-0E4703294F6C}" destId="{73B69BAE-7567-8E4E-A9B2-D2862F6B978E}" srcOrd="0" destOrd="0" presId="urn:microsoft.com/office/officeart/2008/layout/HorizontalMultiLevelHierarchy"/>
    <dgm:cxn modelId="{955924E9-A746-4347-AF1C-FD448F9D23AC}" type="presParOf" srcId="{FD91877E-03C5-8D41-B768-0E4703294F6C}" destId="{27C85358-980A-884D-9DDA-63018758070E}" srcOrd="1" destOrd="0" presId="urn:microsoft.com/office/officeart/2008/layout/HorizontalMultiLevelHierarchy"/>
    <dgm:cxn modelId="{1CDD91DB-3948-0443-A4AD-B263100210DB}" type="presParOf" srcId="{27C85358-980A-884D-9DDA-63018758070E}" destId="{55365CED-83D4-194F-A914-2CFC37CD9B45}" srcOrd="0" destOrd="0" presId="urn:microsoft.com/office/officeart/2008/layout/HorizontalMultiLevelHierarchy"/>
    <dgm:cxn modelId="{ACB144C3-EA74-4E44-A1FD-7EF98A5A20AA}" type="presParOf" srcId="{55365CED-83D4-194F-A914-2CFC37CD9B45}" destId="{12E46C15-0F90-7843-8745-7EFB583D5A38}" srcOrd="0" destOrd="0" presId="urn:microsoft.com/office/officeart/2008/layout/HorizontalMultiLevelHierarchy"/>
    <dgm:cxn modelId="{B4930394-1AF6-5E4C-BD0C-70BB504CEB7E}" type="presParOf" srcId="{27C85358-980A-884D-9DDA-63018758070E}" destId="{76889E03-95A4-234A-BE0C-87E6CEF02D37}" srcOrd="1" destOrd="0" presId="urn:microsoft.com/office/officeart/2008/layout/HorizontalMultiLevelHierarchy"/>
    <dgm:cxn modelId="{88B8D0F9-6470-7841-8685-AF08C6C2C2A6}" type="presParOf" srcId="{76889E03-95A4-234A-BE0C-87E6CEF02D37}" destId="{21C89BDE-E13D-974B-B17D-6B6CDBB2C8DB}" srcOrd="0" destOrd="0" presId="urn:microsoft.com/office/officeart/2008/layout/HorizontalMultiLevelHierarchy"/>
    <dgm:cxn modelId="{9DEABD26-9591-FF45-A329-4B72286A503A}" type="presParOf" srcId="{76889E03-95A4-234A-BE0C-87E6CEF02D37}" destId="{FB25556A-79E0-D042-8EE4-421CC8CFEFD5}" srcOrd="1" destOrd="0" presId="urn:microsoft.com/office/officeart/2008/layout/HorizontalMultiLevelHierarchy"/>
    <dgm:cxn modelId="{1F9E1B60-514C-5B4E-A497-4F89B69BB404}" type="presParOf" srcId="{27C85358-980A-884D-9DDA-63018758070E}" destId="{2242491C-75CB-654B-ABCA-74AF8E25B4E8}" srcOrd="2" destOrd="0" presId="urn:microsoft.com/office/officeart/2008/layout/HorizontalMultiLevelHierarchy"/>
    <dgm:cxn modelId="{4EE88BA5-8400-8748-9D63-0C9E61C13C66}" type="presParOf" srcId="{2242491C-75CB-654B-ABCA-74AF8E25B4E8}" destId="{62990B64-CF79-7146-BF7B-48A759C6E310}" srcOrd="0" destOrd="0" presId="urn:microsoft.com/office/officeart/2008/layout/HorizontalMultiLevelHierarchy"/>
    <dgm:cxn modelId="{724691B3-D68E-CC44-9650-827434B3E864}" type="presParOf" srcId="{27C85358-980A-884D-9DDA-63018758070E}" destId="{34BC8C0B-A669-9B42-82AD-78E158ADEE5B}" srcOrd="3" destOrd="0" presId="urn:microsoft.com/office/officeart/2008/layout/HorizontalMultiLevelHierarchy"/>
    <dgm:cxn modelId="{A97A624E-4F19-144B-8921-1558C67F42D9}" type="presParOf" srcId="{34BC8C0B-A669-9B42-82AD-78E158ADEE5B}" destId="{84732D04-01E1-2742-A082-1195BCDCDEC2}" srcOrd="0" destOrd="0" presId="urn:microsoft.com/office/officeart/2008/layout/HorizontalMultiLevelHierarchy"/>
    <dgm:cxn modelId="{3F5103FC-78E8-424C-A0C9-F3950D68294A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A3E5C3FE-659D-4048-83D4-89E112CDF17A}" type="presOf" srcId="{08733529-A5F0-F14D-8E75-74214329B040}" destId="{393A7F55-569D-7A48-ACE0-063418018375}" srcOrd="0" destOrd="0" presId="urn:microsoft.com/office/officeart/2008/layout/HorizontalMultiLevelHierarchy"/>
    <dgm:cxn modelId="{0F1A2B87-0178-4540-9C8D-726F53C7D90A}" type="presOf" srcId="{134C8002-4160-B046-917F-B9172D6D011E}" destId="{33DDFCA5-CC66-CC45-A430-EDF4DA53BA93}" srcOrd="0" destOrd="0" presId="urn:microsoft.com/office/officeart/2008/layout/HorizontalMultiLevelHierarchy"/>
    <dgm:cxn modelId="{7FAB5FA1-4EAD-DC43-BACC-9FB08E8E3EF9}" type="presOf" srcId="{9EB1846C-ABB5-9E44-B030-7BE73C498E59}" destId="{60914178-E972-6747-98A5-9B1042D21399}" srcOrd="0" destOrd="0" presId="urn:microsoft.com/office/officeart/2008/layout/HorizontalMultiLevelHierarchy"/>
    <dgm:cxn modelId="{F7519C93-C097-D94F-BB05-278B82417EAE}" type="presOf" srcId="{78A64519-4827-364C-A275-D5C68A949ADD}" destId="{33CE7315-72E8-4545-9EC6-56F4D0BEC64D}" srcOrd="0" destOrd="0" presId="urn:microsoft.com/office/officeart/2008/layout/HorizontalMultiLevelHierarchy"/>
    <dgm:cxn modelId="{871A5AD2-61C6-204C-911F-586331F81E84}" type="presOf" srcId="{5ADEDBF8-717E-F946-B11E-4CC50D9988C8}" destId="{AB33012A-8C54-6245-96E8-E0111C081E33}" srcOrd="1" destOrd="0" presId="urn:microsoft.com/office/officeart/2008/layout/HorizontalMultiLevelHierarchy"/>
    <dgm:cxn modelId="{4001B22C-5D06-864E-BAF4-CD2B92C36180}" type="presOf" srcId="{174F7A28-653D-6F45-9860-935E35504EE1}" destId="{4D444EFA-484D-8B49-B53F-73AE5DAC83CB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7CE310EF-D488-A845-AF4F-EE4C9B702484}" type="presOf" srcId="{BBD19103-9913-2A49-AB85-F021773D5328}" destId="{6FA82A28-C585-714B-9AF5-DA995FB3DF53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6829ED28-2F37-AA42-A870-2B2E78CF256B}" type="presOf" srcId="{6577C284-4D20-2C4A-88D4-29EB6FEAC9C2}" destId="{A3F719CD-4C36-CF49-B90F-B8B40A2B29DE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2940BA9F-1EEF-B443-AFFC-222CD0AA08DC}" type="presOf" srcId="{B8771036-12B2-D843-AA17-BB631BA3F87D}" destId="{F9B786D6-8B73-AC47-BEA7-3780A17C3E39}" srcOrd="0" destOrd="0" presId="urn:microsoft.com/office/officeart/2008/layout/HorizontalMultiLevelHierarchy"/>
    <dgm:cxn modelId="{E84AD7AB-9433-4341-8812-5B36CE560C54}" type="presOf" srcId="{C0976C3D-B466-7D45-ABFB-2E3685B2F19C}" destId="{D35EA19E-870C-2F44-A620-E6B51FB20589}" srcOrd="0" destOrd="0" presId="urn:microsoft.com/office/officeart/2008/layout/HorizontalMultiLevelHierarchy"/>
    <dgm:cxn modelId="{79761F84-25E6-2D44-8BE3-576B1EE1E59B}" type="presOf" srcId="{B64CCDD1-81AB-5245-B99A-E87DB05674D4}" destId="{3C43B809-8F2F-3641-8339-1043D47661D7}" srcOrd="0" destOrd="0" presId="urn:microsoft.com/office/officeart/2008/layout/HorizontalMultiLevelHierarchy"/>
    <dgm:cxn modelId="{F39A284A-96C0-FE41-ACEE-6122DD4A814C}" type="presOf" srcId="{8BC59F7D-94BF-3B43-BF5D-5485F4809DAD}" destId="{6D977B4C-E88D-6044-A647-A6CC29747BE1}" srcOrd="0" destOrd="0" presId="urn:microsoft.com/office/officeart/2008/layout/HorizontalMultiLevelHierarchy"/>
    <dgm:cxn modelId="{0BCA0164-8D1D-8A4E-B4EE-755EE6F3BD63}" type="presOf" srcId="{5E2A7D5A-EFB6-9C4F-A960-3D6903C39497}" destId="{1442578F-E924-E34F-9FA5-3F4C2CF65BC9}" srcOrd="0" destOrd="0" presId="urn:microsoft.com/office/officeart/2008/layout/HorizontalMultiLevelHierarchy"/>
    <dgm:cxn modelId="{0F1D4DEA-7D5A-9A43-87B4-F843E2624BC2}" type="presOf" srcId="{5E2A7D5A-EFB6-9C4F-A960-3D6903C39497}" destId="{E59B7B1E-3287-FB43-A405-2A84667315EC}" srcOrd="1" destOrd="0" presId="urn:microsoft.com/office/officeart/2008/layout/HorizontalMultiLevelHierarchy"/>
    <dgm:cxn modelId="{DAA596FE-C424-EC42-B140-4E6C6F66265E}" type="presOf" srcId="{63D1AE09-4F57-A443-A1FD-2A3034962097}" destId="{B7A5E06F-5B4B-C947-BFA6-C1FA5998CE5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A58D2D72-3547-954D-9FAB-42907C430A8F}" type="presOf" srcId="{E543121D-95F7-3E47-B964-B7B948211EBC}" destId="{2C1F9B08-4495-8146-8974-2654E99B2E9A}" srcOrd="0" destOrd="0" presId="urn:microsoft.com/office/officeart/2008/layout/HorizontalMultiLevelHierarchy"/>
    <dgm:cxn modelId="{065CA9C7-273F-774B-8109-B3E56976BC06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A7F7A2CE-60A7-6A45-83EE-DD271EE1EF56}" type="presOf" srcId="{5ADEDBF8-717E-F946-B11E-4CC50D9988C8}" destId="{D778007E-9974-2C41-910F-E1E5562B090A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61D44AD5-79C1-EC45-BB37-D926F810BA73}" type="presOf" srcId="{E543121D-95F7-3E47-B964-B7B948211EBC}" destId="{C9D429FE-9539-9D4A-9750-F9C781598EC4}" srcOrd="1" destOrd="0" presId="urn:microsoft.com/office/officeart/2008/layout/HorizontalMultiLevelHierarchy"/>
    <dgm:cxn modelId="{A4E50177-0759-A649-821E-708ABA509FDA}" type="presOf" srcId="{BBD19103-9913-2A49-AB85-F021773D5328}" destId="{64F502CF-3E90-0B4E-886C-91AB3F51938D}" srcOrd="0" destOrd="0" presId="urn:microsoft.com/office/officeart/2008/layout/HorizontalMultiLevelHierarchy"/>
    <dgm:cxn modelId="{CB17574F-EE56-574C-A160-8AE76F7D6A81}" type="presOf" srcId="{6577C284-4D20-2C4A-88D4-29EB6FEAC9C2}" destId="{348A166D-A55E-9147-99A1-FB87A4CF61A8}" srcOrd="1" destOrd="0" presId="urn:microsoft.com/office/officeart/2008/layout/HorizontalMultiLevelHierarchy"/>
    <dgm:cxn modelId="{42EA23D6-1247-6E4B-9C84-FBF4BF016A23}" type="presOf" srcId="{436C1B23-A07F-9344-ADAB-98173723FB7F}" destId="{B541F6A1-B2AA-7447-8E11-AC7AA5D5D50B}" srcOrd="0" destOrd="0" presId="urn:microsoft.com/office/officeart/2008/layout/HorizontalMultiLevelHierarchy"/>
    <dgm:cxn modelId="{FB927D6D-8B03-5040-B605-60EAC685F635}" type="presOf" srcId="{859769CA-042B-6244-840F-75AE1403619A}" destId="{4E546A01-1907-BB4F-B534-4E81DE6081F4}" srcOrd="0" destOrd="0" presId="urn:microsoft.com/office/officeart/2008/layout/HorizontalMultiLevelHierarchy"/>
    <dgm:cxn modelId="{0CE0E026-F25E-234C-9FEE-56F64473D053}" type="presOf" srcId="{134C8002-4160-B046-917F-B9172D6D011E}" destId="{569810E7-365A-FB48-A979-23DA3465EF4F}" srcOrd="1" destOrd="0" presId="urn:microsoft.com/office/officeart/2008/layout/HorizontalMultiLevelHierarchy"/>
    <dgm:cxn modelId="{2242AF81-384E-0342-805A-59C443BF64DF}" type="presOf" srcId="{BA9C693C-1CF5-6E4E-A8C4-1E304AFD6DF5}" destId="{99E936FD-8649-9640-96D2-9202E1CEC417}" srcOrd="0" destOrd="0" presId="urn:microsoft.com/office/officeart/2008/layout/HorizontalMultiLevelHierarchy"/>
    <dgm:cxn modelId="{AFF495E6-D7AF-0449-89B4-AC96B36F10DA}" type="presOf" srcId="{8BC59F7D-94BF-3B43-BF5D-5485F4809DAD}" destId="{756F0DD8-11FC-8647-8FC8-7AAB634C5717}" srcOrd="1" destOrd="0" presId="urn:microsoft.com/office/officeart/2008/layout/HorizontalMultiLevelHierarchy"/>
    <dgm:cxn modelId="{BEC4D0C1-9AF5-084F-8C50-0497A4335A0C}" type="presOf" srcId="{C24B2AD7-9651-4B45-A8F4-0314EA8D4874}" destId="{8AD8F429-D3CB-F748-A62E-81D3E0DD1FE1}" srcOrd="0" destOrd="0" presId="urn:microsoft.com/office/officeart/2008/layout/HorizontalMultiLevelHierarchy"/>
    <dgm:cxn modelId="{38B1804E-2EA4-EC4C-9C30-E270F32C0144}" type="presOf" srcId="{08733529-A5F0-F14D-8E75-74214329B040}" destId="{A635BF91-C219-EB46-A0CA-F8A2CE3D7BF3}" srcOrd="1" destOrd="0" presId="urn:microsoft.com/office/officeart/2008/layout/HorizontalMultiLevelHierarchy"/>
    <dgm:cxn modelId="{101C7907-340B-2B4B-930F-66B5F63D83A1}" type="presOf" srcId="{990267CF-EA89-A240-9514-9AFC12BBADEE}" destId="{03DEAF18-EC72-C047-A9B4-C65BE189F02C}" srcOrd="0" destOrd="0" presId="urn:microsoft.com/office/officeart/2008/layout/HorizontalMultiLevelHierarchy"/>
    <dgm:cxn modelId="{FB84EAC3-8E73-604F-A0F7-6001223967F7}" type="presOf" srcId="{7E0C02E8-17C2-874D-B6DE-8E3A1D3437C9}" destId="{448042B3-2CED-424C-815C-8FD3B3AD8A39}" srcOrd="0" destOrd="0" presId="urn:microsoft.com/office/officeart/2008/layout/HorizontalMultiLevelHierarchy"/>
    <dgm:cxn modelId="{B5D99011-8EA0-4F46-AE96-2A6D24A6C0B3}" type="presOf" srcId="{9EB1846C-ABB5-9E44-B030-7BE73C498E59}" destId="{03FF4E40-A0E8-E040-A52F-D68379DCC349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7FAC138-C8CE-D246-8662-02DC58954917}" type="presOf" srcId="{0726F871-37F4-AB40-AF73-6656D7E9C85D}" destId="{613226CB-11A4-C549-82A6-64B9BCFE1002}" srcOrd="0" destOrd="0" presId="urn:microsoft.com/office/officeart/2008/layout/HorizontalMultiLevelHierarchy"/>
    <dgm:cxn modelId="{C4D3A0BB-E046-B342-92FB-BEF26CD74219}" type="presOf" srcId="{75291F63-6D2A-BA4D-9808-5F545EE4CCF0}" destId="{9FB8B136-71A7-D34F-B7EB-BD8FC5C96ECE}" srcOrd="0" destOrd="0" presId="urn:microsoft.com/office/officeart/2008/layout/HorizontalMultiLevelHierarchy"/>
    <dgm:cxn modelId="{FF356A7E-E9FD-0C40-8999-E5175C46A164}" type="presOf" srcId="{488E1B12-EE7C-9246-8169-00D4E05307C4}" destId="{5E781A07-1968-A143-88EC-827822313B55}" srcOrd="0" destOrd="0" presId="urn:microsoft.com/office/officeart/2008/layout/HorizontalMultiLevelHierarchy"/>
    <dgm:cxn modelId="{4555B626-DF96-B946-8CAD-61CBB1201AD3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26FC9515-538B-7E41-9D3D-19CB6C73F0B4}" type="presOf" srcId="{436C1B23-A07F-9344-ADAB-98173723FB7F}" destId="{0637CC4E-4D30-724B-9FFD-C7AED88FB068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162EAC1A-3E67-F645-B41A-E6989A0C23C5}" type="presOf" srcId="{26144DC7-9794-3E4B-BF8F-331E25884D5F}" destId="{921A596F-4B37-494E-B07C-17FD734C6406}" srcOrd="0" destOrd="0" presId="urn:microsoft.com/office/officeart/2008/layout/HorizontalMultiLevelHierarchy"/>
    <dgm:cxn modelId="{B0818B80-0D5E-9744-8050-72297EF7AB83}" type="presOf" srcId="{C24B2AD7-9651-4B45-A8F4-0314EA8D4874}" destId="{27DD3461-0240-774A-8774-CC1A00541B61}" srcOrd="1" destOrd="0" presId="urn:microsoft.com/office/officeart/2008/layout/HorizontalMultiLevelHierarchy"/>
    <dgm:cxn modelId="{C1BB08A8-2A24-4C4E-A764-C89E75931950}" type="presParOf" srcId="{613226CB-11A4-C549-82A6-64B9BCFE1002}" destId="{3BA40406-1E55-1642-A22A-B49F5A173AC8}" srcOrd="0" destOrd="0" presId="urn:microsoft.com/office/officeart/2008/layout/HorizontalMultiLevelHierarchy"/>
    <dgm:cxn modelId="{F7059045-D64E-1246-9286-007C6A59A443}" type="presParOf" srcId="{3BA40406-1E55-1642-A22A-B49F5A173AC8}" destId="{99E936FD-8649-9640-96D2-9202E1CEC417}" srcOrd="0" destOrd="0" presId="urn:microsoft.com/office/officeart/2008/layout/HorizontalMultiLevelHierarchy"/>
    <dgm:cxn modelId="{1BDEAD13-1BFA-0C4E-8EF2-6802470ACB8B}" type="presParOf" srcId="{3BA40406-1E55-1642-A22A-B49F5A173AC8}" destId="{598DBB90-9C26-4C4B-AC1C-FF1827BF8D97}" srcOrd="1" destOrd="0" presId="urn:microsoft.com/office/officeart/2008/layout/HorizontalMultiLevelHierarchy"/>
    <dgm:cxn modelId="{28BA9C6D-A9B1-E84F-8247-5C32A0436EF4}" type="presParOf" srcId="{598DBB90-9C26-4C4B-AC1C-FF1827BF8D97}" destId="{D778007E-9974-2C41-910F-E1E5562B090A}" srcOrd="0" destOrd="0" presId="urn:microsoft.com/office/officeart/2008/layout/HorizontalMultiLevelHierarchy"/>
    <dgm:cxn modelId="{B54BB92B-8204-E848-AF84-C4E97F5E9C7A}" type="presParOf" srcId="{D778007E-9974-2C41-910F-E1E5562B090A}" destId="{AB33012A-8C54-6245-96E8-E0111C081E33}" srcOrd="0" destOrd="0" presId="urn:microsoft.com/office/officeart/2008/layout/HorizontalMultiLevelHierarchy"/>
    <dgm:cxn modelId="{E4A60AA8-5F9C-9A40-B11D-AC4572DAEF3A}" type="presParOf" srcId="{598DBB90-9C26-4C4B-AC1C-FF1827BF8D97}" destId="{BCA6FE17-8DB6-0242-A6E4-C7D3971EBD97}" srcOrd="1" destOrd="0" presId="urn:microsoft.com/office/officeart/2008/layout/HorizontalMultiLevelHierarchy"/>
    <dgm:cxn modelId="{F9851CE6-B349-7B48-99DE-22910C12BBB4}" type="presParOf" srcId="{BCA6FE17-8DB6-0242-A6E4-C7D3971EBD97}" destId="{5E781A07-1968-A143-88EC-827822313B55}" srcOrd="0" destOrd="0" presId="urn:microsoft.com/office/officeart/2008/layout/HorizontalMultiLevelHierarchy"/>
    <dgm:cxn modelId="{7C2EB0CD-A7FA-6948-B912-E56F5213889C}" type="presParOf" srcId="{BCA6FE17-8DB6-0242-A6E4-C7D3971EBD97}" destId="{BDDED42C-20CE-EF4E-85AA-7830E9428B23}" srcOrd="1" destOrd="0" presId="urn:microsoft.com/office/officeart/2008/layout/HorizontalMultiLevelHierarchy"/>
    <dgm:cxn modelId="{E6CD469C-CEF1-D044-8B75-4779DE6DEA57}" type="presParOf" srcId="{598DBB90-9C26-4C4B-AC1C-FF1827BF8D97}" destId="{B7A5E06F-5B4B-C947-BFA6-C1FA5998CE54}" srcOrd="2" destOrd="0" presId="urn:microsoft.com/office/officeart/2008/layout/HorizontalMultiLevelHierarchy"/>
    <dgm:cxn modelId="{E9E78C42-49F9-954F-90BF-203747E06CB0}" type="presParOf" srcId="{B7A5E06F-5B4B-C947-BFA6-C1FA5998CE54}" destId="{04D949B2-6FA5-4948-B335-DDA85E4E65B1}" srcOrd="0" destOrd="0" presId="urn:microsoft.com/office/officeart/2008/layout/HorizontalMultiLevelHierarchy"/>
    <dgm:cxn modelId="{B9A15463-F081-E740-9C1B-8CDA0FA7CDCA}" type="presParOf" srcId="{598DBB90-9C26-4C4B-AC1C-FF1827BF8D97}" destId="{5B0B9041-BDB4-7141-9957-0BEAFB33AEFE}" srcOrd="3" destOrd="0" presId="urn:microsoft.com/office/officeart/2008/layout/HorizontalMultiLevelHierarchy"/>
    <dgm:cxn modelId="{54310A53-9474-9F4F-A95B-76930C1A4251}" type="presParOf" srcId="{5B0B9041-BDB4-7141-9957-0BEAFB33AEFE}" destId="{D35EA19E-870C-2F44-A620-E6B51FB20589}" srcOrd="0" destOrd="0" presId="urn:microsoft.com/office/officeart/2008/layout/HorizontalMultiLevelHierarchy"/>
    <dgm:cxn modelId="{8169F718-078B-6140-B012-A891576CBD65}" type="presParOf" srcId="{5B0B9041-BDB4-7141-9957-0BEAFB33AEFE}" destId="{62348515-9687-1045-ADA1-3184EC8CEC61}" srcOrd="1" destOrd="0" presId="urn:microsoft.com/office/officeart/2008/layout/HorizontalMultiLevelHierarchy"/>
    <dgm:cxn modelId="{BE11B920-E048-F244-9699-F65396911237}" type="presParOf" srcId="{62348515-9687-1045-ADA1-3184EC8CEC61}" destId="{B541F6A1-B2AA-7447-8E11-AC7AA5D5D50B}" srcOrd="0" destOrd="0" presId="urn:microsoft.com/office/officeart/2008/layout/HorizontalMultiLevelHierarchy"/>
    <dgm:cxn modelId="{C6F3A57C-576E-FC41-A8BE-A9F42CF99923}" type="presParOf" srcId="{B541F6A1-B2AA-7447-8E11-AC7AA5D5D50B}" destId="{0637CC4E-4D30-724B-9FFD-C7AED88FB068}" srcOrd="0" destOrd="0" presId="urn:microsoft.com/office/officeart/2008/layout/HorizontalMultiLevelHierarchy"/>
    <dgm:cxn modelId="{92AAB5E5-52E9-5B40-AA0A-6412F2618C53}" type="presParOf" srcId="{62348515-9687-1045-ADA1-3184EC8CEC61}" destId="{CA3C244E-E149-0742-ACEF-44B7ECE83631}" srcOrd="1" destOrd="0" presId="urn:microsoft.com/office/officeart/2008/layout/HorizontalMultiLevelHierarchy"/>
    <dgm:cxn modelId="{B02C962A-5FB1-874E-8032-1882FF0C9B21}" type="presParOf" srcId="{CA3C244E-E149-0742-ACEF-44B7ECE83631}" destId="{9FB8B136-71A7-D34F-B7EB-BD8FC5C96ECE}" srcOrd="0" destOrd="0" presId="urn:microsoft.com/office/officeart/2008/layout/HorizontalMultiLevelHierarchy"/>
    <dgm:cxn modelId="{DF403411-6326-4C4F-8F59-7C27403DE073}" type="presParOf" srcId="{CA3C244E-E149-0742-ACEF-44B7ECE83631}" destId="{9B46DB51-FCC5-AC41-BECD-E28037B564D0}" srcOrd="1" destOrd="0" presId="urn:microsoft.com/office/officeart/2008/layout/HorizontalMultiLevelHierarchy"/>
    <dgm:cxn modelId="{726A948F-E466-794B-82B9-B3368F2C51D5}" type="presParOf" srcId="{62348515-9687-1045-ADA1-3184EC8CEC61}" destId="{2C1F9B08-4495-8146-8974-2654E99B2E9A}" srcOrd="2" destOrd="0" presId="urn:microsoft.com/office/officeart/2008/layout/HorizontalMultiLevelHierarchy"/>
    <dgm:cxn modelId="{9A02C920-DBB2-7F41-8E10-18BCA692C63D}" type="presParOf" srcId="{2C1F9B08-4495-8146-8974-2654E99B2E9A}" destId="{C9D429FE-9539-9D4A-9750-F9C781598EC4}" srcOrd="0" destOrd="0" presId="urn:microsoft.com/office/officeart/2008/layout/HorizontalMultiLevelHierarchy"/>
    <dgm:cxn modelId="{AB5C1E81-55A6-DC47-AF2B-8E72704439B5}" type="presParOf" srcId="{62348515-9687-1045-ADA1-3184EC8CEC61}" destId="{7F107BC0-209A-4C42-BEA6-B6817D5C9E09}" srcOrd="3" destOrd="0" presId="urn:microsoft.com/office/officeart/2008/layout/HorizontalMultiLevelHierarchy"/>
    <dgm:cxn modelId="{FED0B4D4-6AF1-1E45-A549-DA0E732AE324}" type="presParOf" srcId="{7F107BC0-209A-4C42-BEA6-B6817D5C9E09}" destId="{4E546A01-1907-BB4F-B534-4E81DE6081F4}" srcOrd="0" destOrd="0" presId="urn:microsoft.com/office/officeart/2008/layout/HorizontalMultiLevelHierarchy"/>
    <dgm:cxn modelId="{AE1308A7-3447-484C-A7FD-72ABE0D785A8}" type="presParOf" srcId="{7F107BC0-209A-4C42-BEA6-B6817D5C9E09}" destId="{F5393339-32D0-CE4B-9AAA-4B6A114FA39A}" srcOrd="1" destOrd="0" presId="urn:microsoft.com/office/officeart/2008/layout/HorizontalMultiLevelHierarchy"/>
    <dgm:cxn modelId="{BFC45288-1328-9943-B7D7-A78A3D6831BE}" type="presParOf" srcId="{62348515-9687-1045-ADA1-3184EC8CEC61}" destId="{6D977B4C-E88D-6044-A647-A6CC29747BE1}" srcOrd="4" destOrd="0" presId="urn:microsoft.com/office/officeart/2008/layout/HorizontalMultiLevelHierarchy"/>
    <dgm:cxn modelId="{304FC4AE-1D91-B749-96E8-C92C2791F4D8}" type="presParOf" srcId="{6D977B4C-E88D-6044-A647-A6CC29747BE1}" destId="{756F0DD8-11FC-8647-8FC8-7AAB634C5717}" srcOrd="0" destOrd="0" presId="urn:microsoft.com/office/officeart/2008/layout/HorizontalMultiLevelHierarchy"/>
    <dgm:cxn modelId="{EC38F55A-864F-7040-9FBF-BD3B3ABB2986}" type="presParOf" srcId="{62348515-9687-1045-ADA1-3184EC8CEC61}" destId="{BAA197B9-40F5-1D46-A384-973DDEA5160C}" srcOrd="5" destOrd="0" presId="urn:microsoft.com/office/officeart/2008/layout/HorizontalMultiLevelHierarchy"/>
    <dgm:cxn modelId="{F92B1268-8B4E-A54E-8EE3-9DF43DD52AED}" type="presParOf" srcId="{BAA197B9-40F5-1D46-A384-973DDEA5160C}" destId="{3C43B809-8F2F-3641-8339-1043D47661D7}" srcOrd="0" destOrd="0" presId="urn:microsoft.com/office/officeart/2008/layout/HorizontalMultiLevelHierarchy"/>
    <dgm:cxn modelId="{DB060119-DF4B-EB48-823C-3E5B0A1C67A6}" type="presParOf" srcId="{BAA197B9-40F5-1D46-A384-973DDEA5160C}" destId="{F59926D0-D2AF-8940-B86B-A1820706A34B}" srcOrd="1" destOrd="0" presId="urn:microsoft.com/office/officeart/2008/layout/HorizontalMultiLevelHierarchy"/>
    <dgm:cxn modelId="{A64F34DD-7819-7F49-B5C1-A5F653A6916F}" type="presParOf" srcId="{598DBB90-9C26-4C4B-AC1C-FF1827BF8D97}" destId="{1442578F-E924-E34F-9FA5-3F4C2CF65BC9}" srcOrd="4" destOrd="0" presId="urn:microsoft.com/office/officeart/2008/layout/HorizontalMultiLevelHierarchy"/>
    <dgm:cxn modelId="{20F0FFB1-D975-AE4C-97AB-28DBF1FAB63B}" type="presParOf" srcId="{1442578F-E924-E34F-9FA5-3F4C2CF65BC9}" destId="{E59B7B1E-3287-FB43-A405-2A84667315EC}" srcOrd="0" destOrd="0" presId="urn:microsoft.com/office/officeart/2008/layout/HorizontalMultiLevelHierarchy"/>
    <dgm:cxn modelId="{D3FF84DA-9E77-8041-B3C1-B834ECCA8F60}" type="presParOf" srcId="{598DBB90-9C26-4C4B-AC1C-FF1827BF8D97}" destId="{6188AF91-8F5E-7F4E-A0A2-13FA32167F53}" srcOrd="5" destOrd="0" presId="urn:microsoft.com/office/officeart/2008/layout/HorizontalMultiLevelHierarchy"/>
    <dgm:cxn modelId="{416C8C50-0E27-2A4B-B130-AD95F771EDAD}" type="presParOf" srcId="{6188AF91-8F5E-7F4E-A0A2-13FA32167F53}" destId="{5167760A-1265-4C43-B02A-4A72B3B39F5E}" srcOrd="0" destOrd="0" presId="urn:microsoft.com/office/officeart/2008/layout/HorizontalMultiLevelHierarchy"/>
    <dgm:cxn modelId="{57C0CD6C-3D59-6741-821E-00EA86D10890}" type="presParOf" srcId="{6188AF91-8F5E-7F4E-A0A2-13FA32167F53}" destId="{21F2C295-F343-AC4A-8BE2-CFD4DAC170AE}" srcOrd="1" destOrd="0" presId="urn:microsoft.com/office/officeart/2008/layout/HorizontalMultiLevelHierarchy"/>
    <dgm:cxn modelId="{34248280-158D-1644-8604-6A797E394405}" type="presParOf" srcId="{598DBB90-9C26-4C4B-AC1C-FF1827BF8D97}" destId="{A3F719CD-4C36-CF49-B90F-B8B40A2B29DE}" srcOrd="6" destOrd="0" presId="urn:microsoft.com/office/officeart/2008/layout/HorizontalMultiLevelHierarchy"/>
    <dgm:cxn modelId="{808DBEC0-60FB-DF46-931E-4D2364DBBCFB}" type="presParOf" srcId="{A3F719CD-4C36-CF49-B90F-B8B40A2B29DE}" destId="{348A166D-A55E-9147-99A1-FB87A4CF61A8}" srcOrd="0" destOrd="0" presId="urn:microsoft.com/office/officeart/2008/layout/HorizontalMultiLevelHierarchy"/>
    <dgm:cxn modelId="{8B571A42-7AA9-184E-B448-3058E04D49EE}" type="presParOf" srcId="{598DBB90-9C26-4C4B-AC1C-FF1827BF8D97}" destId="{175E4F2C-D898-EE44-A4E7-79846E237DB4}" srcOrd="7" destOrd="0" presId="urn:microsoft.com/office/officeart/2008/layout/HorizontalMultiLevelHierarchy"/>
    <dgm:cxn modelId="{A9E13887-899A-A845-B4B2-95B5F085C74D}" type="presParOf" srcId="{175E4F2C-D898-EE44-A4E7-79846E237DB4}" destId="{921A596F-4B37-494E-B07C-17FD734C6406}" srcOrd="0" destOrd="0" presId="urn:microsoft.com/office/officeart/2008/layout/HorizontalMultiLevelHierarchy"/>
    <dgm:cxn modelId="{79514B72-2608-A24C-971B-A6AE34393016}" type="presParOf" srcId="{175E4F2C-D898-EE44-A4E7-79846E237DB4}" destId="{A9D518F9-DAB2-4E45-9ECB-39AA13A01564}" srcOrd="1" destOrd="0" presId="urn:microsoft.com/office/officeart/2008/layout/HorizontalMultiLevelHierarchy"/>
    <dgm:cxn modelId="{26417B84-9243-4549-B2AB-CA4DC502306B}" type="presParOf" srcId="{A9D518F9-DAB2-4E45-9ECB-39AA13A01564}" destId="{8AD8F429-D3CB-F748-A62E-81D3E0DD1FE1}" srcOrd="0" destOrd="0" presId="urn:microsoft.com/office/officeart/2008/layout/HorizontalMultiLevelHierarchy"/>
    <dgm:cxn modelId="{51DD7E79-7C63-E845-9CDD-C6F834BE28B2}" type="presParOf" srcId="{8AD8F429-D3CB-F748-A62E-81D3E0DD1FE1}" destId="{27DD3461-0240-774A-8774-CC1A00541B61}" srcOrd="0" destOrd="0" presId="urn:microsoft.com/office/officeart/2008/layout/HorizontalMultiLevelHierarchy"/>
    <dgm:cxn modelId="{736E2B05-A458-0E4B-8AC6-C4F786EB29D1}" type="presParOf" srcId="{A9D518F9-DAB2-4E45-9ECB-39AA13A01564}" destId="{11FBA7F4-3D95-3448-9648-3CEA03AB03A5}" srcOrd="1" destOrd="0" presId="urn:microsoft.com/office/officeart/2008/layout/HorizontalMultiLevelHierarchy"/>
    <dgm:cxn modelId="{BDEABE92-9A26-844E-8A41-D9831258D3DB}" type="presParOf" srcId="{11FBA7F4-3D95-3448-9648-3CEA03AB03A5}" destId="{33CE7315-72E8-4545-9EC6-56F4D0BEC64D}" srcOrd="0" destOrd="0" presId="urn:microsoft.com/office/officeart/2008/layout/HorizontalMultiLevelHierarchy"/>
    <dgm:cxn modelId="{A37A91EB-D0A2-504F-99CE-5398CAE273FB}" type="presParOf" srcId="{11FBA7F4-3D95-3448-9648-3CEA03AB03A5}" destId="{F94ACA84-3A4A-0541-929E-9401CD7FB410}" srcOrd="1" destOrd="0" presId="urn:microsoft.com/office/officeart/2008/layout/HorizontalMultiLevelHierarchy"/>
    <dgm:cxn modelId="{365AFA3A-AA1C-CD4C-9036-A745D8286DDD}" type="presParOf" srcId="{598DBB90-9C26-4C4B-AC1C-FF1827BF8D97}" destId="{33DDFCA5-CC66-CC45-A430-EDF4DA53BA93}" srcOrd="8" destOrd="0" presId="urn:microsoft.com/office/officeart/2008/layout/HorizontalMultiLevelHierarchy"/>
    <dgm:cxn modelId="{97B01693-EA98-604A-9351-62D63E46CAEA}" type="presParOf" srcId="{33DDFCA5-CC66-CC45-A430-EDF4DA53BA93}" destId="{569810E7-365A-FB48-A979-23DA3465EF4F}" srcOrd="0" destOrd="0" presId="urn:microsoft.com/office/officeart/2008/layout/HorizontalMultiLevelHierarchy"/>
    <dgm:cxn modelId="{D012F059-CC72-4749-8BB5-E9206B4A749B}" type="presParOf" srcId="{598DBB90-9C26-4C4B-AC1C-FF1827BF8D97}" destId="{299D8B01-3ECB-7743-BE59-35C50BD6249A}" srcOrd="9" destOrd="0" presId="urn:microsoft.com/office/officeart/2008/layout/HorizontalMultiLevelHierarchy"/>
    <dgm:cxn modelId="{BD3AFB75-B56B-3D41-B0C3-E8C748DBD4FC}" type="presParOf" srcId="{299D8B01-3ECB-7743-BE59-35C50BD6249A}" destId="{03DEAF18-EC72-C047-A9B4-C65BE189F02C}" srcOrd="0" destOrd="0" presId="urn:microsoft.com/office/officeart/2008/layout/HorizontalMultiLevelHierarchy"/>
    <dgm:cxn modelId="{3C93E5EA-6617-D542-815A-7930CD72EF50}" type="presParOf" srcId="{299D8B01-3ECB-7743-BE59-35C50BD6249A}" destId="{322C5A5A-9E25-6047-BB00-4DF750E135CE}" srcOrd="1" destOrd="0" presId="urn:microsoft.com/office/officeart/2008/layout/HorizontalMultiLevelHierarchy"/>
    <dgm:cxn modelId="{AB15302A-DC3D-6441-AF1B-65E86D9AFAA3}" type="presParOf" srcId="{322C5A5A-9E25-6047-BB00-4DF750E135CE}" destId="{393A7F55-569D-7A48-ACE0-063418018375}" srcOrd="0" destOrd="0" presId="urn:microsoft.com/office/officeart/2008/layout/HorizontalMultiLevelHierarchy"/>
    <dgm:cxn modelId="{65EBA89C-7161-054C-AC1F-4ED34F50A6FA}" type="presParOf" srcId="{393A7F55-569D-7A48-ACE0-063418018375}" destId="{A635BF91-C219-EB46-A0CA-F8A2CE3D7BF3}" srcOrd="0" destOrd="0" presId="urn:microsoft.com/office/officeart/2008/layout/HorizontalMultiLevelHierarchy"/>
    <dgm:cxn modelId="{711C7DEE-448B-AB47-AA11-D371B1C42CAE}" type="presParOf" srcId="{322C5A5A-9E25-6047-BB00-4DF750E135CE}" destId="{55918953-A6CF-814A-89F9-551623EBC010}" srcOrd="1" destOrd="0" presId="urn:microsoft.com/office/officeart/2008/layout/HorizontalMultiLevelHierarchy"/>
    <dgm:cxn modelId="{143095AC-31C9-9641-9480-7911AA5D9495}" type="presParOf" srcId="{55918953-A6CF-814A-89F9-551623EBC010}" destId="{448042B3-2CED-424C-815C-8FD3B3AD8A39}" srcOrd="0" destOrd="0" presId="urn:microsoft.com/office/officeart/2008/layout/HorizontalMultiLevelHierarchy"/>
    <dgm:cxn modelId="{7A361569-21C5-A446-BE6A-7181B5479345}" type="presParOf" srcId="{55918953-A6CF-814A-89F9-551623EBC010}" destId="{4C59A0B4-1525-104C-AAB2-E79163983336}" srcOrd="1" destOrd="0" presId="urn:microsoft.com/office/officeart/2008/layout/HorizontalMultiLevelHierarchy"/>
    <dgm:cxn modelId="{7D340EA8-6198-DA4B-AF25-79510CD3C985}" type="presParOf" srcId="{322C5A5A-9E25-6047-BB00-4DF750E135CE}" destId="{64F502CF-3E90-0B4E-886C-91AB3F51938D}" srcOrd="2" destOrd="0" presId="urn:microsoft.com/office/officeart/2008/layout/HorizontalMultiLevelHierarchy"/>
    <dgm:cxn modelId="{3FF6526D-CC38-3D45-B6EA-0DCCAB397D3D}" type="presParOf" srcId="{64F502CF-3E90-0B4E-886C-91AB3F51938D}" destId="{6FA82A28-C585-714B-9AF5-DA995FB3DF53}" srcOrd="0" destOrd="0" presId="urn:microsoft.com/office/officeart/2008/layout/HorizontalMultiLevelHierarchy"/>
    <dgm:cxn modelId="{580D836A-9EA1-EE40-B3EE-6105BDB9C86A}" type="presParOf" srcId="{322C5A5A-9E25-6047-BB00-4DF750E135CE}" destId="{EC8B6A62-9FAE-5045-A1A4-029DC2356DF7}" srcOrd="3" destOrd="0" presId="urn:microsoft.com/office/officeart/2008/layout/HorizontalMultiLevelHierarchy"/>
    <dgm:cxn modelId="{49191798-3939-CE43-9D75-BD2F4B8505E8}" type="presParOf" srcId="{EC8B6A62-9FAE-5045-A1A4-029DC2356DF7}" destId="{F9B786D6-8B73-AC47-BEA7-3780A17C3E39}" srcOrd="0" destOrd="0" presId="urn:microsoft.com/office/officeart/2008/layout/HorizontalMultiLevelHierarchy"/>
    <dgm:cxn modelId="{4CC95B94-97B4-7F4C-A673-C6A390CDA324}" type="presParOf" srcId="{EC8B6A62-9FAE-5045-A1A4-029DC2356DF7}" destId="{6E27147E-0C63-E041-AB6B-5C0E60851726}" srcOrd="1" destOrd="0" presId="urn:microsoft.com/office/officeart/2008/layout/HorizontalMultiLevelHierarchy"/>
    <dgm:cxn modelId="{D467DFAA-8B2D-364E-9A1B-83AD037BCFCC}" type="presParOf" srcId="{598DBB90-9C26-4C4B-AC1C-FF1827BF8D97}" destId="{60914178-E972-6747-98A5-9B1042D21399}" srcOrd="10" destOrd="0" presId="urn:microsoft.com/office/officeart/2008/layout/HorizontalMultiLevelHierarchy"/>
    <dgm:cxn modelId="{23172514-2FBE-5E4C-B3A5-CCC2E2E867E5}" type="presParOf" srcId="{60914178-E972-6747-98A5-9B1042D21399}" destId="{03FF4E40-A0E8-E040-A52F-D68379DCC349}" srcOrd="0" destOrd="0" presId="urn:microsoft.com/office/officeart/2008/layout/HorizontalMultiLevelHierarchy"/>
    <dgm:cxn modelId="{1BC31396-C305-7A4F-8520-775B8B111617}" type="presParOf" srcId="{598DBB90-9C26-4C4B-AC1C-FF1827BF8D97}" destId="{82D22835-936A-1D4B-AF7A-2D86C6FB8621}" srcOrd="11" destOrd="0" presId="urn:microsoft.com/office/officeart/2008/layout/HorizontalMultiLevelHierarchy"/>
    <dgm:cxn modelId="{81D410A3-15C4-D749-9C89-8FA55EE333A7}" type="presParOf" srcId="{82D22835-936A-1D4B-AF7A-2D86C6FB8621}" destId="{4D444EFA-484D-8B49-B53F-73AE5DAC83CB}" srcOrd="0" destOrd="0" presId="urn:microsoft.com/office/officeart/2008/layout/HorizontalMultiLevelHierarchy"/>
    <dgm:cxn modelId="{335B3902-8D71-F744-8643-1E12A962EA75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40F0C6AC-115F-EE46-8DA5-60B1019F21B6}" type="presOf" srcId="{73DD7058-02B4-D24C-9D13-AF75375EF8E6}" destId="{12E46C15-0F90-7843-8745-7EFB583D5A38}" srcOrd="1" destOrd="0" presId="urn:microsoft.com/office/officeart/2008/layout/HorizontalMultiLevelHierarchy"/>
    <dgm:cxn modelId="{6EB7F103-AB88-DE40-BDDD-3E62944DFECD}" type="presOf" srcId="{63D1AE09-4F57-A443-A1FD-2A3034962097}" destId="{B7A5E06F-5B4B-C947-BFA6-C1FA5998CE54}" srcOrd="0" destOrd="0" presId="urn:microsoft.com/office/officeart/2008/layout/HorizontalMultiLevelHierarchy"/>
    <dgm:cxn modelId="{12CA18F5-9C60-3A44-9007-E924A9F4CB9A}" type="presOf" srcId="{B4B50EEB-1538-DF45-B07F-7D0FD83C8ED3}" destId="{7C4C248C-9225-884B-A9F0-E626AEAE24C9}" srcOrd="1" destOrd="0" presId="urn:microsoft.com/office/officeart/2008/layout/HorizontalMultiLevelHierarchy"/>
    <dgm:cxn modelId="{E8E5D787-BDF7-6941-9D37-3D8225A03B9B}" type="presOf" srcId="{5ADEDBF8-717E-F946-B11E-4CC50D9988C8}" destId="{D778007E-9974-2C41-910F-E1E5562B090A}" srcOrd="0" destOrd="0" presId="urn:microsoft.com/office/officeart/2008/layout/HorizontalMultiLevelHierarchy"/>
    <dgm:cxn modelId="{12EB43CB-0482-A44E-A058-21BF0AF323B8}" type="presOf" srcId="{9EB1846C-ABB5-9E44-B030-7BE73C498E59}" destId="{03FF4E40-A0E8-E040-A52F-D68379DCC349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28045A7F-623C-5E43-B70A-1A3DE4C011C2}" type="presOf" srcId="{5E2A7D5A-EFB6-9C4F-A960-3D6903C39497}" destId="{E59B7B1E-3287-FB43-A405-2A84667315EC}" srcOrd="1" destOrd="0" presId="urn:microsoft.com/office/officeart/2008/layout/HorizontalMultiLevelHierarchy"/>
    <dgm:cxn modelId="{32C0C636-5D11-6B47-8546-79F920F03DF0}" type="presOf" srcId="{B3C905E3-C669-9942-AEC9-21A47474CEB4}" destId="{996189F3-00B3-7D49-A5FC-5430A26FB618}" srcOrd="0" destOrd="0" presId="urn:microsoft.com/office/officeart/2008/layout/HorizontalMultiLevelHierarchy"/>
    <dgm:cxn modelId="{7B31E51F-495B-A748-BC0F-F063296D2FF9}" type="presOf" srcId="{516F75D9-69F5-0544-995D-CFB72352B59F}" destId="{887F982A-9047-D440-AFAC-0FD9C008886A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24FF1B8F-859A-5D41-8515-EF8E332A389D}" type="presOf" srcId="{134C8002-4160-B046-917F-B9172D6D011E}" destId="{569810E7-365A-FB48-A979-23DA3465EF4F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26136037-CF0B-5E47-A790-ACE2EC3DE88A}" type="presOf" srcId="{B8771036-12B2-D843-AA17-BB631BA3F87D}" destId="{F9B786D6-8B73-AC47-BEA7-3780A17C3E39}" srcOrd="0" destOrd="0" presId="urn:microsoft.com/office/officeart/2008/layout/HorizontalMultiLevelHierarchy"/>
    <dgm:cxn modelId="{C3C6FD48-F661-F24D-91FF-FB264BD5329A}" type="presOf" srcId="{B3C905E3-C669-9942-AEC9-21A47474CEB4}" destId="{DB79995B-B315-9C4C-BCA0-97AF2CF960CD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020B4BAE-A4EC-834B-9BF1-D9425E2B98C6}" type="presOf" srcId="{8B212141-5DD9-384A-A240-561E72DAAF7B}" destId="{21C89BDE-E13D-974B-B17D-6B6CDBB2C8DB}" srcOrd="0" destOrd="0" presId="urn:microsoft.com/office/officeart/2008/layout/HorizontalMultiLevelHierarchy"/>
    <dgm:cxn modelId="{D03F3B10-8E80-A04B-B58B-1D4DA5CA13BD}" type="presOf" srcId="{134C8002-4160-B046-917F-B9172D6D011E}" destId="{33DDFCA5-CC66-CC45-A430-EDF4DA53BA9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3CA545FA-09A7-1F49-87B1-0636439CF0B6}" type="presOf" srcId="{63D1AE09-4F57-A443-A1FD-2A3034962097}" destId="{04D949B2-6FA5-4948-B335-DDA85E4E65B1}" srcOrd="1" destOrd="0" presId="urn:microsoft.com/office/officeart/2008/layout/HorizontalMultiLevelHierarchy"/>
    <dgm:cxn modelId="{39D6F6A8-BCDB-134E-8DA8-4384FE85C7B2}" type="presOf" srcId="{7E0C02E8-17C2-874D-B6DE-8E3A1D3437C9}" destId="{448042B3-2CED-424C-815C-8FD3B3AD8A39}" srcOrd="0" destOrd="0" presId="urn:microsoft.com/office/officeart/2008/layout/HorizontalMultiLevelHierarchy"/>
    <dgm:cxn modelId="{A90763C7-236A-B942-9918-C70F09C6B286}" type="presOf" srcId="{0726F871-37F4-AB40-AF73-6656D7E9C85D}" destId="{613226CB-11A4-C549-82A6-64B9BCFE1002}" srcOrd="0" destOrd="0" presId="urn:microsoft.com/office/officeart/2008/layout/HorizontalMultiLevelHierarchy"/>
    <dgm:cxn modelId="{B2E8509E-4F43-8442-9F39-1E33104C78A7}" type="presOf" srcId="{73DD7058-02B4-D24C-9D13-AF75375EF8E6}" destId="{55365CED-83D4-194F-A914-2CFC37CD9B45}" srcOrd="0" destOrd="0" presId="urn:microsoft.com/office/officeart/2008/layout/HorizontalMultiLevelHierarchy"/>
    <dgm:cxn modelId="{2828A1B6-9510-414F-A408-E952E78B666D}" type="presOf" srcId="{08733529-A5F0-F14D-8E75-74214329B040}" destId="{393A7F55-569D-7A48-ACE0-063418018375}" srcOrd="0" destOrd="0" presId="urn:microsoft.com/office/officeart/2008/layout/HorizontalMultiLevelHierarchy"/>
    <dgm:cxn modelId="{05D5B313-FFA2-3349-8FB9-4B50F83F6FBC}" type="presOf" srcId="{26144DC7-9794-3E4B-BF8F-331E25884D5F}" destId="{921A596F-4B37-494E-B07C-17FD734C6406}" srcOrd="0" destOrd="0" presId="urn:microsoft.com/office/officeart/2008/layout/HorizontalMultiLevelHierarchy"/>
    <dgm:cxn modelId="{D67F4D50-91BE-CA41-9DF6-9D3B4D685C5E}" type="presOf" srcId="{80BD7623-DCEC-2448-AB85-7A6B177B6EBB}" destId="{73B69BAE-7567-8E4E-A9B2-D2862F6B978E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2F22962C-21AA-2943-85BB-A6B631EF5ED5}" type="presOf" srcId="{5ADEDBF8-717E-F946-B11E-4CC50D9988C8}" destId="{AB33012A-8C54-6245-96E8-E0111C081E33}" srcOrd="1" destOrd="0" presId="urn:microsoft.com/office/officeart/2008/layout/HorizontalMultiLevelHierarchy"/>
    <dgm:cxn modelId="{4333DFE1-7BFA-5547-B126-2EC5BF515E19}" type="presOf" srcId="{C0976C3D-B466-7D45-ABFB-2E3685B2F19C}" destId="{D35EA19E-870C-2F44-A620-E6B51FB20589}" srcOrd="0" destOrd="0" presId="urn:microsoft.com/office/officeart/2008/layout/HorizontalMultiLevelHierarchy"/>
    <dgm:cxn modelId="{F34E9A3A-EA71-C246-9D66-6B7E5137AFE9}" type="presOf" srcId="{B4B50EEB-1538-DF45-B07F-7D0FD83C8ED3}" destId="{91975744-72FE-E947-98E3-ECF3B2E7C3DC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F219C42C-C583-9F49-9445-F250313A746B}" type="presOf" srcId="{08733529-A5F0-F14D-8E75-74214329B040}" destId="{A635BF91-C219-EB46-A0CA-F8A2CE3D7BF3}" srcOrd="1" destOrd="0" presId="urn:microsoft.com/office/officeart/2008/layout/HorizontalMultiLevelHierarchy"/>
    <dgm:cxn modelId="{B528C494-AA7E-A045-AFD1-01999BF02DFF}" type="presOf" srcId="{EF2BFDE9-4D1F-3049-B62C-65BE59459C50}" destId="{5167760A-1265-4C43-B02A-4A72B3B39F5E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4C4178E8-9978-5345-8B8E-76F4645CA045}" type="presOf" srcId="{990267CF-EA89-A240-9514-9AFC12BBADEE}" destId="{03DEAF18-EC72-C047-A9B4-C65BE189F02C}" srcOrd="0" destOrd="0" presId="urn:microsoft.com/office/officeart/2008/layout/HorizontalMultiLevelHierarchy"/>
    <dgm:cxn modelId="{7E59AB22-B606-B74F-BA4B-D45884E0AB54}" type="presOf" srcId="{5E2A7D5A-EFB6-9C4F-A960-3D6903C39497}" destId="{1442578F-E924-E34F-9FA5-3F4C2CF65BC9}" srcOrd="0" destOrd="0" presId="urn:microsoft.com/office/officeart/2008/layout/HorizontalMultiLevelHierarchy"/>
    <dgm:cxn modelId="{5101F5E7-3EFC-024D-A099-797A8DDEADD9}" type="presOf" srcId="{11D7D97A-F1CC-6A49-92BA-1094CF9B8EE3}" destId="{84732D04-01E1-2742-A082-1195BCDCDEC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55C7DE2-F8B5-5D4D-A7B2-2F50B963CD60}" type="presOf" srcId="{90FBF026-5068-6043-A75B-344D047E346D}" destId="{62990B64-CF79-7146-BF7B-48A759C6E310}" srcOrd="1" destOrd="0" presId="urn:microsoft.com/office/officeart/2008/layout/HorizontalMultiLevelHierarchy"/>
    <dgm:cxn modelId="{CDB20E40-2464-DF49-8FAD-9D1A04C5811B}" type="presOf" srcId="{9EB1846C-ABB5-9E44-B030-7BE73C498E59}" destId="{60914178-E972-6747-98A5-9B1042D21399}" srcOrd="0" destOrd="0" presId="urn:microsoft.com/office/officeart/2008/layout/HorizontalMultiLevelHierarchy"/>
    <dgm:cxn modelId="{9E933806-676F-1E4E-BC0E-A8C53FBA8F45}" type="presOf" srcId="{07A4D93E-7AFB-4E4D-8384-CFBE7085BD56}" destId="{9D34DFA2-4C7C-5642-ADF0-8F3EDFBC71AF}" srcOrd="1" destOrd="0" presId="urn:microsoft.com/office/officeart/2008/layout/HorizontalMultiLevelHierarchy"/>
    <dgm:cxn modelId="{22A791DA-AA77-3242-A790-2D5FB4FA4772}" type="presOf" srcId="{174F7A28-653D-6F45-9860-935E35504EE1}" destId="{4D444EFA-484D-8B49-B53F-73AE5DAC83CB}" srcOrd="0" destOrd="0" presId="urn:microsoft.com/office/officeart/2008/layout/HorizontalMultiLevelHierarchy"/>
    <dgm:cxn modelId="{BA915FAB-624D-B544-B1CE-1EE86C48C3F2}" type="presOf" srcId="{BBD19103-9913-2A49-AB85-F021773D5328}" destId="{6FA82A28-C585-714B-9AF5-DA995FB3DF53}" srcOrd="1" destOrd="0" presId="urn:microsoft.com/office/officeart/2008/layout/HorizontalMultiLevelHierarchy"/>
    <dgm:cxn modelId="{D9072C31-B316-E849-85B2-FC114F67D7B1}" type="presOf" srcId="{488E1B12-EE7C-9246-8169-00D4E05307C4}" destId="{5E781A07-1968-A143-88EC-827822313B55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8E96FF9-4304-C64D-973C-8CB2DCCC9076}" type="presOf" srcId="{BA9C693C-1CF5-6E4E-A8C4-1E304AFD6DF5}" destId="{99E936FD-8649-9640-96D2-9202E1CEC417}" srcOrd="0" destOrd="0" presId="urn:microsoft.com/office/officeart/2008/layout/HorizontalMultiLevelHierarchy"/>
    <dgm:cxn modelId="{6B4B30FC-C1D9-A848-8687-35AE20D7BBE2}" type="presOf" srcId="{1333B56B-0FB7-DB46-BFA8-14BA9E09141B}" destId="{9E30CAA0-C8DA-7340-9AC5-F7AFBAE25743}" srcOrd="0" destOrd="0" presId="urn:microsoft.com/office/officeart/2008/layout/HorizontalMultiLevelHierarchy"/>
    <dgm:cxn modelId="{B9505FDE-9496-724A-8BBD-8702B12090F9}" type="presOf" srcId="{BBD19103-9913-2A49-AB85-F021773D5328}" destId="{64F502CF-3E90-0B4E-886C-91AB3F51938D}" srcOrd="0" destOrd="0" presId="urn:microsoft.com/office/officeart/2008/layout/HorizontalMultiLevelHierarchy"/>
    <dgm:cxn modelId="{08CB2953-2815-6140-B435-34D78E974967}" type="presOf" srcId="{07A4D93E-7AFB-4E4D-8384-CFBE7085BD56}" destId="{42308E2A-E89A-524C-8598-CEBE02495F63}" srcOrd="0" destOrd="0" presId="urn:microsoft.com/office/officeart/2008/layout/HorizontalMultiLevelHierarchy"/>
    <dgm:cxn modelId="{37620FFA-2BDF-3E46-823E-1A1DE31957D8}" type="presOf" srcId="{6577C284-4D20-2C4A-88D4-29EB6FEAC9C2}" destId="{348A166D-A55E-9147-99A1-FB87A4CF61A8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65FAFDBE-0B7B-DE4D-990A-11AC472AD2A1}" type="presOf" srcId="{6577C284-4D20-2C4A-88D4-29EB6FEAC9C2}" destId="{A3F719CD-4C36-CF49-B90F-B8B40A2B29DE}" srcOrd="0" destOrd="0" presId="urn:microsoft.com/office/officeart/2008/layout/HorizontalMultiLevelHierarchy"/>
    <dgm:cxn modelId="{926DF770-577C-434D-A4CD-3BAE4D1969C8}" type="presOf" srcId="{90FBF026-5068-6043-A75B-344D047E346D}" destId="{2242491C-75CB-654B-ABCA-74AF8E25B4E8}" srcOrd="0" destOrd="0" presId="urn:microsoft.com/office/officeart/2008/layout/HorizontalMultiLevelHierarchy"/>
    <dgm:cxn modelId="{A8EA503D-6862-C74A-87B6-2A9BC6FD3B12}" type="presParOf" srcId="{613226CB-11A4-C549-82A6-64B9BCFE1002}" destId="{3BA40406-1E55-1642-A22A-B49F5A173AC8}" srcOrd="0" destOrd="0" presId="urn:microsoft.com/office/officeart/2008/layout/HorizontalMultiLevelHierarchy"/>
    <dgm:cxn modelId="{627C427C-8302-B24B-B9AA-BC18484AA8B1}" type="presParOf" srcId="{3BA40406-1E55-1642-A22A-B49F5A173AC8}" destId="{99E936FD-8649-9640-96D2-9202E1CEC417}" srcOrd="0" destOrd="0" presId="urn:microsoft.com/office/officeart/2008/layout/HorizontalMultiLevelHierarchy"/>
    <dgm:cxn modelId="{1D5F9900-5343-7940-9618-EFFF4CE6BC76}" type="presParOf" srcId="{3BA40406-1E55-1642-A22A-B49F5A173AC8}" destId="{598DBB90-9C26-4C4B-AC1C-FF1827BF8D97}" srcOrd="1" destOrd="0" presId="urn:microsoft.com/office/officeart/2008/layout/HorizontalMultiLevelHierarchy"/>
    <dgm:cxn modelId="{C0EB7680-9EB9-B94D-B502-3221BA3E0959}" type="presParOf" srcId="{598DBB90-9C26-4C4B-AC1C-FF1827BF8D97}" destId="{D778007E-9974-2C41-910F-E1E5562B090A}" srcOrd="0" destOrd="0" presId="urn:microsoft.com/office/officeart/2008/layout/HorizontalMultiLevelHierarchy"/>
    <dgm:cxn modelId="{5930ACDF-AB08-3D45-9E06-36A8DBE09CD2}" type="presParOf" srcId="{D778007E-9974-2C41-910F-E1E5562B090A}" destId="{AB33012A-8C54-6245-96E8-E0111C081E33}" srcOrd="0" destOrd="0" presId="urn:microsoft.com/office/officeart/2008/layout/HorizontalMultiLevelHierarchy"/>
    <dgm:cxn modelId="{C7849D9E-899D-0D47-AEBC-4D9F0F3504B5}" type="presParOf" srcId="{598DBB90-9C26-4C4B-AC1C-FF1827BF8D97}" destId="{BCA6FE17-8DB6-0242-A6E4-C7D3971EBD97}" srcOrd="1" destOrd="0" presId="urn:microsoft.com/office/officeart/2008/layout/HorizontalMultiLevelHierarchy"/>
    <dgm:cxn modelId="{441FBC9D-71FF-844C-9278-AF0DDAEAAEC3}" type="presParOf" srcId="{BCA6FE17-8DB6-0242-A6E4-C7D3971EBD97}" destId="{5E781A07-1968-A143-88EC-827822313B55}" srcOrd="0" destOrd="0" presId="urn:microsoft.com/office/officeart/2008/layout/HorizontalMultiLevelHierarchy"/>
    <dgm:cxn modelId="{B7C9374F-6EC1-DE4C-95B2-82EB692C535C}" type="presParOf" srcId="{BCA6FE17-8DB6-0242-A6E4-C7D3971EBD97}" destId="{BDDED42C-20CE-EF4E-85AA-7830E9428B23}" srcOrd="1" destOrd="0" presId="urn:microsoft.com/office/officeart/2008/layout/HorizontalMultiLevelHierarchy"/>
    <dgm:cxn modelId="{8C0FAFAE-6CB7-104D-8538-C72B85DEDCEB}" type="presParOf" srcId="{598DBB90-9C26-4C4B-AC1C-FF1827BF8D97}" destId="{B7A5E06F-5B4B-C947-BFA6-C1FA5998CE54}" srcOrd="2" destOrd="0" presId="urn:microsoft.com/office/officeart/2008/layout/HorizontalMultiLevelHierarchy"/>
    <dgm:cxn modelId="{E1FA3C8D-5E42-214A-9516-121B95FA773E}" type="presParOf" srcId="{B7A5E06F-5B4B-C947-BFA6-C1FA5998CE54}" destId="{04D949B2-6FA5-4948-B335-DDA85E4E65B1}" srcOrd="0" destOrd="0" presId="urn:microsoft.com/office/officeart/2008/layout/HorizontalMultiLevelHierarchy"/>
    <dgm:cxn modelId="{6A63C536-6144-584F-B1B4-0CC10079C834}" type="presParOf" srcId="{598DBB90-9C26-4C4B-AC1C-FF1827BF8D97}" destId="{5B0B9041-BDB4-7141-9957-0BEAFB33AEFE}" srcOrd="3" destOrd="0" presId="urn:microsoft.com/office/officeart/2008/layout/HorizontalMultiLevelHierarchy"/>
    <dgm:cxn modelId="{C93FEFFA-CD5A-CB4E-9106-26C997F137FB}" type="presParOf" srcId="{5B0B9041-BDB4-7141-9957-0BEAFB33AEFE}" destId="{D35EA19E-870C-2F44-A620-E6B51FB20589}" srcOrd="0" destOrd="0" presId="urn:microsoft.com/office/officeart/2008/layout/HorizontalMultiLevelHierarchy"/>
    <dgm:cxn modelId="{D018AF95-7F7A-F842-ABFB-35F8866C0F05}" type="presParOf" srcId="{5B0B9041-BDB4-7141-9957-0BEAFB33AEFE}" destId="{62348515-9687-1045-ADA1-3184EC8CEC61}" srcOrd="1" destOrd="0" presId="urn:microsoft.com/office/officeart/2008/layout/HorizontalMultiLevelHierarchy"/>
    <dgm:cxn modelId="{4E690AA0-6BFC-4C4C-8498-4D7921CAFF0E}" type="presParOf" srcId="{598DBB90-9C26-4C4B-AC1C-FF1827BF8D97}" destId="{42308E2A-E89A-524C-8598-CEBE02495F63}" srcOrd="4" destOrd="0" presId="urn:microsoft.com/office/officeart/2008/layout/HorizontalMultiLevelHierarchy"/>
    <dgm:cxn modelId="{93CD5D2C-808E-1647-A0B1-E4CFFDF0FAE4}" type="presParOf" srcId="{42308E2A-E89A-524C-8598-CEBE02495F63}" destId="{9D34DFA2-4C7C-5642-ADF0-8F3EDFBC71AF}" srcOrd="0" destOrd="0" presId="urn:microsoft.com/office/officeart/2008/layout/HorizontalMultiLevelHierarchy"/>
    <dgm:cxn modelId="{20A78ABB-BACD-B642-89C0-80BE96CA738A}" type="presParOf" srcId="{598DBB90-9C26-4C4B-AC1C-FF1827BF8D97}" destId="{5A37FE29-273D-2F4A-BA74-A981AFDF7035}" srcOrd="5" destOrd="0" presId="urn:microsoft.com/office/officeart/2008/layout/HorizontalMultiLevelHierarchy"/>
    <dgm:cxn modelId="{B03326C5-0F3F-D948-AC3C-504764B9C31A}" type="presParOf" srcId="{5A37FE29-273D-2F4A-BA74-A981AFDF7035}" destId="{887F982A-9047-D440-AFAC-0FD9C008886A}" srcOrd="0" destOrd="0" presId="urn:microsoft.com/office/officeart/2008/layout/HorizontalMultiLevelHierarchy"/>
    <dgm:cxn modelId="{802522CA-B159-6F47-99C1-8814C76BC6DE}" type="presParOf" srcId="{5A37FE29-273D-2F4A-BA74-A981AFDF7035}" destId="{740B7AF0-357F-C843-8A5C-C85C349471AE}" srcOrd="1" destOrd="0" presId="urn:microsoft.com/office/officeart/2008/layout/HorizontalMultiLevelHierarchy"/>
    <dgm:cxn modelId="{7CFF11A2-34F4-AF48-B4BB-472DAA781B21}" type="presParOf" srcId="{598DBB90-9C26-4C4B-AC1C-FF1827BF8D97}" destId="{996189F3-00B3-7D49-A5FC-5430A26FB618}" srcOrd="6" destOrd="0" presId="urn:microsoft.com/office/officeart/2008/layout/HorizontalMultiLevelHierarchy"/>
    <dgm:cxn modelId="{671DEA71-FE57-C045-9759-3832A27787AE}" type="presParOf" srcId="{996189F3-00B3-7D49-A5FC-5430A26FB618}" destId="{DB79995B-B315-9C4C-BCA0-97AF2CF960CD}" srcOrd="0" destOrd="0" presId="urn:microsoft.com/office/officeart/2008/layout/HorizontalMultiLevelHierarchy"/>
    <dgm:cxn modelId="{F4618B11-5085-AB42-ACF9-32831735D318}" type="presParOf" srcId="{598DBB90-9C26-4C4B-AC1C-FF1827BF8D97}" destId="{7361FCA1-91C1-7340-94A4-772CB0377746}" srcOrd="7" destOrd="0" presId="urn:microsoft.com/office/officeart/2008/layout/HorizontalMultiLevelHierarchy"/>
    <dgm:cxn modelId="{B1339F93-7E6C-0F45-9859-5C5AF6E059C0}" type="presParOf" srcId="{7361FCA1-91C1-7340-94A4-772CB0377746}" destId="{9E30CAA0-C8DA-7340-9AC5-F7AFBAE25743}" srcOrd="0" destOrd="0" presId="urn:microsoft.com/office/officeart/2008/layout/HorizontalMultiLevelHierarchy"/>
    <dgm:cxn modelId="{C7E11153-A9C3-8446-93F7-0E460AAC747D}" type="presParOf" srcId="{7361FCA1-91C1-7340-94A4-772CB0377746}" destId="{75AE1B1C-8672-CF47-8665-1AE6D32AB23F}" srcOrd="1" destOrd="0" presId="urn:microsoft.com/office/officeart/2008/layout/HorizontalMultiLevelHierarchy"/>
    <dgm:cxn modelId="{C5316656-82EB-9746-AE6D-CEF888F7847E}" type="presParOf" srcId="{598DBB90-9C26-4C4B-AC1C-FF1827BF8D97}" destId="{1442578F-E924-E34F-9FA5-3F4C2CF65BC9}" srcOrd="8" destOrd="0" presId="urn:microsoft.com/office/officeart/2008/layout/HorizontalMultiLevelHierarchy"/>
    <dgm:cxn modelId="{4C36865B-BE99-C948-8A3C-2BA95EE74CAF}" type="presParOf" srcId="{1442578F-E924-E34F-9FA5-3F4C2CF65BC9}" destId="{E59B7B1E-3287-FB43-A405-2A84667315EC}" srcOrd="0" destOrd="0" presId="urn:microsoft.com/office/officeart/2008/layout/HorizontalMultiLevelHierarchy"/>
    <dgm:cxn modelId="{A40BB30A-10E0-EB42-8F5F-66FD1A0A1AB2}" type="presParOf" srcId="{598DBB90-9C26-4C4B-AC1C-FF1827BF8D97}" destId="{6188AF91-8F5E-7F4E-A0A2-13FA32167F53}" srcOrd="9" destOrd="0" presId="urn:microsoft.com/office/officeart/2008/layout/HorizontalMultiLevelHierarchy"/>
    <dgm:cxn modelId="{D3A549FC-0A53-F14D-9934-3FA0D69740CD}" type="presParOf" srcId="{6188AF91-8F5E-7F4E-A0A2-13FA32167F53}" destId="{5167760A-1265-4C43-B02A-4A72B3B39F5E}" srcOrd="0" destOrd="0" presId="urn:microsoft.com/office/officeart/2008/layout/HorizontalMultiLevelHierarchy"/>
    <dgm:cxn modelId="{FC054317-A04A-8C40-843C-C9E92EB5FE6C}" type="presParOf" srcId="{6188AF91-8F5E-7F4E-A0A2-13FA32167F53}" destId="{21F2C295-F343-AC4A-8BE2-CFD4DAC170AE}" srcOrd="1" destOrd="0" presId="urn:microsoft.com/office/officeart/2008/layout/HorizontalMultiLevelHierarchy"/>
    <dgm:cxn modelId="{BF3D1B44-9DC3-A448-97A6-C136F5509C0C}" type="presParOf" srcId="{598DBB90-9C26-4C4B-AC1C-FF1827BF8D97}" destId="{A3F719CD-4C36-CF49-B90F-B8B40A2B29DE}" srcOrd="10" destOrd="0" presId="urn:microsoft.com/office/officeart/2008/layout/HorizontalMultiLevelHierarchy"/>
    <dgm:cxn modelId="{152B525C-94A0-4D40-9345-0EFD12CC5064}" type="presParOf" srcId="{A3F719CD-4C36-CF49-B90F-B8B40A2B29DE}" destId="{348A166D-A55E-9147-99A1-FB87A4CF61A8}" srcOrd="0" destOrd="0" presId="urn:microsoft.com/office/officeart/2008/layout/HorizontalMultiLevelHierarchy"/>
    <dgm:cxn modelId="{64504BDB-25CD-6F46-B51A-35B94918C7A3}" type="presParOf" srcId="{598DBB90-9C26-4C4B-AC1C-FF1827BF8D97}" destId="{175E4F2C-D898-EE44-A4E7-79846E237DB4}" srcOrd="11" destOrd="0" presId="urn:microsoft.com/office/officeart/2008/layout/HorizontalMultiLevelHierarchy"/>
    <dgm:cxn modelId="{73CD055C-AE9C-3E4E-8562-4CF4054428C3}" type="presParOf" srcId="{175E4F2C-D898-EE44-A4E7-79846E237DB4}" destId="{921A596F-4B37-494E-B07C-17FD734C6406}" srcOrd="0" destOrd="0" presId="urn:microsoft.com/office/officeart/2008/layout/HorizontalMultiLevelHierarchy"/>
    <dgm:cxn modelId="{060AFD40-EDCF-4941-94E1-C912E440B5BF}" type="presParOf" srcId="{175E4F2C-D898-EE44-A4E7-79846E237DB4}" destId="{A9D518F9-DAB2-4E45-9ECB-39AA13A01564}" srcOrd="1" destOrd="0" presId="urn:microsoft.com/office/officeart/2008/layout/HorizontalMultiLevelHierarchy"/>
    <dgm:cxn modelId="{957A0679-D378-7746-84F8-4CD95292B395}" type="presParOf" srcId="{598DBB90-9C26-4C4B-AC1C-FF1827BF8D97}" destId="{33DDFCA5-CC66-CC45-A430-EDF4DA53BA93}" srcOrd="12" destOrd="0" presId="urn:microsoft.com/office/officeart/2008/layout/HorizontalMultiLevelHierarchy"/>
    <dgm:cxn modelId="{C990A127-4FEB-8849-BA34-3B6853771ADC}" type="presParOf" srcId="{33DDFCA5-CC66-CC45-A430-EDF4DA53BA93}" destId="{569810E7-365A-FB48-A979-23DA3465EF4F}" srcOrd="0" destOrd="0" presId="urn:microsoft.com/office/officeart/2008/layout/HorizontalMultiLevelHierarchy"/>
    <dgm:cxn modelId="{44D169B9-E533-CF4E-9AB3-032BFF014FBF}" type="presParOf" srcId="{598DBB90-9C26-4C4B-AC1C-FF1827BF8D97}" destId="{299D8B01-3ECB-7743-BE59-35C50BD6249A}" srcOrd="13" destOrd="0" presId="urn:microsoft.com/office/officeart/2008/layout/HorizontalMultiLevelHierarchy"/>
    <dgm:cxn modelId="{E2713BFF-B3A0-F741-B924-88729AE1B23E}" type="presParOf" srcId="{299D8B01-3ECB-7743-BE59-35C50BD6249A}" destId="{03DEAF18-EC72-C047-A9B4-C65BE189F02C}" srcOrd="0" destOrd="0" presId="urn:microsoft.com/office/officeart/2008/layout/HorizontalMultiLevelHierarchy"/>
    <dgm:cxn modelId="{7B42836E-9D68-334A-A47F-C266AB3341E0}" type="presParOf" srcId="{299D8B01-3ECB-7743-BE59-35C50BD6249A}" destId="{322C5A5A-9E25-6047-BB00-4DF750E135CE}" srcOrd="1" destOrd="0" presId="urn:microsoft.com/office/officeart/2008/layout/HorizontalMultiLevelHierarchy"/>
    <dgm:cxn modelId="{F9AD24B6-18C6-B446-B85E-CED2BCCBDE8D}" type="presParOf" srcId="{322C5A5A-9E25-6047-BB00-4DF750E135CE}" destId="{393A7F55-569D-7A48-ACE0-063418018375}" srcOrd="0" destOrd="0" presId="urn:microsoft.com/office/officeart/2008/layout/HorizontalMultiLevelHierarchy"/>
    <dgm:cxn modelId="{7F0E0085-AA77-704A-9D41-81735560992E}" type="presParOf" srcId="{393A7F55-569D-7A48-ACE0-063418018375}" destId="{A635BF91-C219-EB46-A0CA-F8A2CE3D7BF3}" srcOrd="0" destOrd="0" presId="urn:microsoft.com/office/officeart/2008/layout/HorizontalMultiLevelHierarchy"/>
    <dgm:cxn modelId="{567538E1-2E1F-9F41-8CFF-03CB3BE57C0C}" type="presParOf" srcId="{322C5A5A-9E25-6047-BB00-4DF750E135CE}" destId="{55918953-A6CF-814A-89F9-551623EBC010}" srcOrd="1" destOrd="0" presId="urn:microsoft.com/office/officeart/2008/layout/HorizontalMultiLevelHierarchy"/>
    <dgm:cxn modelId="{CFE958B7-BCE5-954D-943B-54C4FDE7E1AC}" type="presParOf" srcId="{55918953-A6CF-814A-89F9-551623EBC010}" destId="{448042B3-2CED-424C-815C-8FD3B3AD8A39}" srcOrd="0" destOrd="0" presId="urn:microsoft.com/office/officeart/2008/layout/HorizontalMultiLevelHierarchy"/>
    <dgm:cxn modelId="{AD1EFE59-16A8-3147-8933-3D4F8CBF9619}" type="presParOf" srcId="{55918953-A6CF-814A-89F9-551623EBC010}" destId="{4C59A0B4-1525-104C-AAB2-E79163983336}" srcOrd="1" destOrd="0" presId="urn:microsoft.com/office/officeart/2008/layout/HorizontalMultiLevelHierarchy"/>
    <dgm:cxn modelId="{EAA76389-B76C-FB49-8ECF-D5584AFF0C5E}" type="presParOf" srcId="{322C5A5A-9E25-6047-BB00-4DF750E135CE}" destId="{64F502CF-3E90-0B4E-886C-91AB3F51938D}" srcOrd="2" destOrd="0" presId="urn:microsoft.com/office/officeart/2008/layout/HorizontalMultiLevelHierarchy"/>
    <dgm:cxn modelId="{9BE719B6-3334-2A45-AD51-4F0A3DB34BFD}" type="presParOf" srcId="{64F502CF-3E90-0B4E-886C-91AB3F51938D}" destId="{6FA82A28-C585-714B-9AF5-DA995FB3DF53}" srcOrd="0" destOrd="0" presId="urn:microsoft.com/office/officeart/2008/layout/HorizontalMultiLevelHierarchy"/>
    <dgm:cxn modelId="{9A78CF46-A988-5749-ACEE-934713C39C2C}" type="presParOf" srcId="{322C5A5A-9E25-6047-BB00-4DF750E135CE}" destId="{EC8B6A62-9FAE-5045-A1A4-029DC2356DF7}" srcOrd="3" destOrd="0" presId="urn:microsoft.com/office/officeart/2008/layout/HorizontalMultiLevelHierarchy"/>
    <dgm:cxn modelId="{63A67A87-9956-1A49-8D45-EAAC4487A87C}" type="presParOf" srcId="{EC8B6A62-9FAE-5045-A1A4-029DC2356DF7}" destId="{F9B786D6-8B73-AC47-BEA7-3780A17C3E39}" srcOrd="0" destOrd="0" presId="urn:microsoft.com/office/officeart/2008/layout/HorizontalMultiLevelHierarchy"/>
    <dgm:cxn modelId="{56C73D2D-D407-5D4A-A77C-A3656452C017}" type="presParOf" srcId="{EC8B6A62-9FAE-5045-A1A4-029DC2356DF7}" destId="{6E27147E-0C63-E041-AB6B-5C0E60851726}" srcOrd="1" destOrd="0" presId="urn:microsoft.com/office/officeart/2008/layout/HorizontalMultiLevelHierarchy"/>
    <dgm:cxn modelId="{01CC83E2-F3B8-C54A-A6A5-72871EBCFB9A}" type="presParOf" srcId="{598DBB90-9C26-4C4B-AC1C-FF1827BF8D97}" destId="{60914178-E972-6747-98A5-9B1042D21399}" srcOrd="14" destOrd="0" presId="urn:microsoft.com/office/officeart/2008/layout/HorizontalMultiLevelHierarchy"/>
    <dgm:cxn modelId="{449053F5-347C-584B-885B-DF5E5535B445}" type="presParOf" srcId="{60914178-E972-6747-98A5-9B1042D21399}" destId="{03FF4E40-A0E8-E040-A52F-D68379DCC349}" srcOrd="0" destOrd="0" presId="urn:microsoft.com/office/officeart/2008/layout/HorizontalMultiLevelHierarchy"/>
    <dgm:cxn modelId="{77B857FC-2619-A145-B8E7-55D02BFD6BF1}" type="presParOf" srcId="{598DBB90-9C26-4C4B-AC1C-FF1827BF8D97}" destId="{82D22835-936A-1D4B-AF7A-2D86C6FB8621}" srcOrd="15" destOrd="0" presId="urn:microsoft.com/office/officeart/2008/layout/HorizontalMultiLevelHierarchy"/>
    <dgm:cxn modelId="{3352E41C-3ABD-5642-83B4-9F37E59D33F7}" type="presParOf" srcId="{82D22835-936A-1D4B-AF7A-2D86C6FB8621}" destId="{4D444EFA-484D-8B49-B53F-73AE5DAC83CB}" srcOrd="0" destOrd="0" presId="urn:microsoft.com/office/officeart/2008/layout/HorizontalMultiLevelHierarchy"/>
    <dgm:cxn modelId="{A26DBB6D-23EA-FA4E-AE01-7F6179D146CF}" type="presParOf" srcId="{82D22835-936A-1D4B-AF7A-2D86C6FB8621}" destId="{780003EA-E55D-2544-948D-2BA68EB5F8A9}" srcOrd="1" destOrd="0" presId="urn:microsoft.com/office/officeart/2008/layout/HorizontalMultiLevelHierarchy"/>
    <dgm:cxn modelId="{E631012B-B6D6-1840-AADD-76A5672A9E2F}" type="presParOf" srcId="{598DBB90-9C26-4C4B-AC1C-FF1827BF8D97}" destId="{91975744-72FE-E947-98E3-ECF3B2E7C3DC}" srcOrd="16" destOrd="0" presId="urn:microsoft.com/office/officeart/2008/layout/HorizontalMultiLevelHierarchy"/>
    <dgm:cxn modelId="{BD6B4662-9DEA-D64A-9A4C-B203F850A4EA}" type="presParOf" srcId="{91975744-72FE-E947-98E3-ECF3B2E7C3DC}" destId="{7C4C248C-9225-884B-A9F0-E626AEAE24C9}" srcOrd="0" destOrd="0" presId="urn:microsoft.com/office/officeart/2008/layout/HorizontalMultiLevelHierarchy"/>
    <dgm:cxn modelId="{5D22E350-21A2-204A-BA29-AEB98199CDD9}" type="presParOf" srcId="{598DBB90-9C26-4C4B-AC1C-FF1827BF8D97}" destId="{FD91877E-03C5-8D41-B768-0E4703294F6C}" srcOrd="17" destOrd="0" presId="urn:microsoft.com/office/officeart/2008/layout/HorizontalMultiLevelHierarchy"/>
    <dgm:cxn modelId="{29DC62F9-E8FF-344C-81F3-AA07E836F535}" type="presParOf" srcId="{FD91877E-03C5-8D41-B768-0E4703294F6C}" destId="{73B69BAE-7567-8E4E-A9B2-D2862F6B978E}" srcOrd="0" destOrd="0" presId="urn:microsoft.com/office/officeart/2008/layout/HorizontalMultiLevelHierarchy"/>
    <dgm:cxn modelId="{3F190B31-0584-8F46-B230-10C6551BE852}" type="presParOf" srcId="{FD91877E-03C5-8D41-B768-0E4703294F6C}" destId="{27C85358-980A-884D-9DDA-63018758070E}" srcOrd="1" destOrd="0" presId="urn:microsoft.com/office/officeart/2008/layout/HorizontalMultiLevelHierarchy"/>
    <dgm:cxn modelId="{98F4A15D-E601-2544-8E2C-30D67F79B38E}" type="presParOf" srcId="{27C85358-980A-884D-9DDA-63018758070E}" destId="{55365CED-83D4-194F-A914-2CFC37CD9B45}" srcOrd="0" destOrd="0" presId="urn:microsoft.com/office/officeart/2008/layout/HorizontalMultiLevelHierarchy"/>
    <dgm:cxn modelId="{69236FCE-C11E-1E45-8AC3-410DDF7A03B5}" type="presParOf" srcId="{55365CED-83D4-194F-A914-2CFC37CD9B45}" destId="{12E46C15-0F90-7843-8745-7EFB583D5A38}" srcOrd="0" destOrd="0" presId="urn:microsoft.com/office/officeart/2008/layout/HorizontalMultiLevelHierarchy"/>
    <dgm:cxn modelId="{057839B6-4515-A141-ABDB-FEB88EF7CBF7}" type="presParOf" srcId="{27C85358-980A-884D-9DDA-63018758070E}" destId="{76889E03-95A4-234A-BE0C-87E6CEF02D37}" srcOrd="1" destOrd="0" presId="urn:microsoft.com/office/officeart/2008/layout/HorizontalMultiLevelHierarchy"/>
    <dgm:cxn modelId="{022FC59B-F881-8847-A11A-6A847E8F6282}" type="presParOf" srcId="{76889E03-95A4-234A-BE0C-87E6CEF02D37}" destId="{21C89BDE-E13D-974B-B17D-6B6CDBB2C8DB}" srcOrd="0" destOrd="0" presId="urn:microsoft.com/office/officeart/2008/layout/HorizontalMultiLevelHierarchy"/>
    <dgm:cxn modelId="{B46434A9-5654-1E45-A8F6-DA5443DCB13F}" type="presParOf" srcId="{76889E03-95A4-234A-BE0C-87E6CEF02D37}" destId="{FB25556A-79E0-D042-8EE4-421CC8CFEFD5}" srcOrd="1" destOrd="0" presId="urn:microsoft.com/office/officeart/2008/layout/HorizontalMultiLevelHierarchy"/>
    <dgm:cxn modelId="{5DC36E1E-B26D-E546-A525-B28FF0C77FB8}" type="presParOf" srcId="{27C85358-980A-884D-9DDA-63018758070E}" destId="{2242491C-75CB-654B-ABCA-74AF8E25B4E8}" srcOrd="2" destOrd="0" presId="urn:microsoft.com/office/officeart/2008/layout/HorizontalMultiLevelHierarchy"/>
    <dgm:cxn modelId="{F65A2C6B-3DE3-2144-BCA1-872D26C419E8}" type="presParOf" srcId="{2242491C-75CB-654B-ABCA-74AF8E25B4E8}" destId="{62990B64-CF79-7146-BF7B-48A759C6E310}" srcOrd="0" destOrd="0" presId="urn:microsoft.com/office/officeart/2008/layout/HorizontalMultiLevelHierarchy"/>
    <dgm:cxn modelId="{8D045A44-75A1-9340-8EEF-215AD9B2DA80}" type="presParOf" srcId="{27C85358-980A-884D-9DDA-63018758070E}" destId="{34BC8C0B-A669-9B42-82AD-78E158ADEE5B}" srcOrd="3" destOrd="0" presId="urn:microsoft.com/office/officeart/2008/layout/HorizontalMultiLevelHierarchy"/>
    <dgm:cxn modelId="{BEC01EF7-382D-714C-8606-AFB6D324A33A}" type="presParOf" srcId="{34BC8C0B-A669-9B42-82AD-78E158ADEE5B}" destId="{84732D04-01E1-2742-A082-1195BCDCDEC2}" srcOrd="0" destOrd="0" presId="urn:microsoft.com/office/officeart/2008/layout/HorizontalMultiLevelHierarchy"/>
    <dgm:cxn modelId="{F8B7D252-4634-494D-B962-26727A8D472F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B426589C-A2EB-764C-9781-66EDF72338D4}" type="presOf" srcId="{BBD19103-9913-2A49-AB85-F021773D5328}" destId="{64F502CF-3E90-0B4E-886C-91AB3F51938D}" srcOrd="0" destOrd="0" presId="urn:microsoft.com/office/officeart/2008/layout/HorizontalMultiLevelHierarchy"/>
    <dgm:cxn modelId="{BBAD555D-7435-2D46-824E-C2B78A5AB4AB}" type="presOf" srcId="{C24B2AD7-9651-4B45-A8F4-0314EA8D4874}" destId="{8AD8F429-D3CB-F748-A62E-81D3E0DD1FE1}" srcOrd="0" destOrd="0" presId="urn:microsoft.com/office/officeart/2008/layout/HorizontalMultiLevelHierarchy"/>
    <dgm:cxn modelId="{38C919B1-240E-F14D-B0FD-B35F735FFAA1}" type="presOf" srcId="{B64CCDD1-81AB-5245-B99A-E87DB05674D4}" destId="{3C43B809-8F2F-3641-8339-1043D47661D7}" srcOrd="0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8FE89CFF-EADC-7447-A476-453BC04C8523}" type="presOf" srcId="{BA9C693C-1CF5-6E4E-A8C4-1E304AFD6DF5}" destId="{99E936FD-8649-9640-96D2-9202E1CEC417}" srcOrd="0" destOrd="0" presId="urn:microsoft.com/office/officeart/2008/layout/HorizontalMultiLevelHierarchy"/>
    <dgm:cxn modelId="{BB80087C-A0B8-C24B-B4C6-7CDAEF02437C}" type="presOf" srcId="{78A64519-4827-364C-A275-D5C68A949ADD}" destId="{33CE7315-72E8-4545-9EC6-56F4D0BEC64D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D2FB0793-29E4-4442-90C3-2B44277466BB}" type="presOf" srcId="{8BC59F7D-94BF-3B43-BF5D-5485F4809DAD}" destId="{6D977B4C-E88D-6044-A647-A6CC29747BE1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923D89AC-F4DA-9C45-A793-581B21E9B791}" type="presOf" srcId="{5ADEDBF8-717E-F946-B11E-4CC50D9988C8}" destId="{D778007E-9974-2C41-910F-E1E5562B090A}" srcOrd="0" destOrd="0" presId="urn:microsoft.com/office/officeart/2008/layout/HorizontalMultiLevelHierarchy"/>
    <dgm:cxn modelId="{E1826673-2BEB-E749-B498-D5F55D1DDEC7}" type="presOf" srcId="{990267CF-EA89-A240-9514-9AFC12BBADEE}" destId="{03DEAF18-EC72-C047-A9B4-C65BE189F02C}" srcOrd="0" destOrd="0" presId="urn:microsoft.com/office/officeart/2008/layout/HorizontalMultiLevelHierarchy"/>
    <dgm:cxn modelId="{30723521-5AF8-794E-A227-B1F41A282F54}" type="presOf" srcId="{BBD19103-9913-2A49-AB85-F021773D5328}" destId="{6FA82A28-C585-714B-9AF5-DA995FB3DF53}" srcOrd="1" destOrd="0" presId="urn:microsoft.com/office/officeart/2008/layout/HorizontalMultiLevelHierarchy"/>
    <dgm:cxn modelId="{F1B49E8D-D0A3-4249-818D-46ABFCD7DC7E}" type="presOf" srcId="{7E0C02E8-17C2-874D-B6DE-8E3A1D3437C9}" destId="{448042B3-2CED-424C-815C-8FD3B3AD8A39}" srcOrd="0" destOrd="0" presId="urn:microsoft.com/office/officeart/2008/layout/HorizontalMultiLevelHierarchy"/>
    <dgm:cxn modelId="{02D68948-82D5-1C47-944C-A3264EF882CC}" type="presOf" srcId="{859769CA-042B-6244-840F-75AE1403619A}" destId="{4E546A01-1907-BB4F-B534-4E81DE6081F4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142ABDA-AF56-5141-9F2B-FFA084EA66F6}" type="presOf" srcId="{174F7A28-653D-6F45-9860-935E35504EE1}" destId="{4D444EFA-484D-8B49-B53F-73AE5DAC83CB}" srcOrd="0" destOrd="0" presId="urn:microsoft.com/office/officeart/2008/layout/HorizontalMultiLevelHierarchy"/>
    <dgm:cxn modelId="{6EF8AD7C-3F6F-DD44-8573-1C8B7620683A}" type="presOf" srcId="{436C1B23-A07F-9344-ADAB-98173723FB7F}" destId="{0637CC4E-4D30-724B-9FFD-C7AED88FB068}" srcOrd="1" destOrd="0" presId="urn:microsoft.com/office/officeart/2008/layout/HorizontalMultiLevelHierarchy"/>
    <dgm:cxn modelId="{5975DDD3-1F34-E742-90F3-9628CD49BB9F}" type="presOf" srcId="{5E2A7D5A-EFB6-9C4F-A960-3D6903C39497}" destId="{1442578F-E924-E34F-9FA5-3F4C2CF65BC9}" srcOrd="0" destOrd="0" presId="urn:microsoft.com/office/officeart/2008/layout/HorizontalMultiLevelHierarchy"/>
    <dgm:cxn modelId="{AC6C8238-A1CC-DC4F-A9F3-CB7B70DB68E9}" type="presOf" srcId="{EF2BFDE9-4D1F-3049-B62C-65BE59459C50}" destId="{5167760A-1265-4C43-B02A-4A72B3B39F5E}" srcOrd="0" destOrd="0" presId="urn:microsoft.com/office/officeart/2008/layout/HorizontalMultiLevelHierarchy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477552AA-E3C0-8B4F-8217-75CDB0192FDD}" type="presOf" srcId="{8BC59F7D-94BF-3B43-BF5D-5485F4809DAD}" destId="{756F0DD8-11FC-8647-8FC8-7AAB634C5717}" srcOrd="1" destOrd="0" presId="urn:microsoft.com/office/officeart/2008/layout/HorizontalMultiLevelHierarchy"/>
    <dgm:cxn modelId="{B8EF06B8-4584-CB4E-8875-473AF79B3039}" type="presOf" srcId="{C0976C3D-B466-7D45-ABFB-2E3685B2F19C}" destId="{D35EA19E-870C-2F44-A620-E6B51FB20589}" srcOrd="0" destOrd="0" presId="urn:microsoft.com/office/officeart/2008/layout/HorizontalMultiLevelHierarchy"/>
    <dgm:cxn modelId="{0CDC6723-8EAC-3044-B117-CB497C564FEF}" type="presOf" srcId="{E543121D-95F7-3E47-B964-B7B948211EBC}" destId="{2C1F9B08-4495-8146-8974-2654E99B2E9A}" srcOrd="0" destOrd="0" presId="urn:microsoft.com/office/officeart/2008/layout/HorizontalMultiLevelHierarchy"/>
    <dgm:cxn modelId="{9F3E65C2-A4BB-914A-890E-17DA78F72A2B}" type="presOf" srcId="{08733529-A5F0-F14D-8E75-74214329B040}" destId="{A635BF91-C219-EB46-A0CA-F8A2CE3D7BF3}" srcOrd="1" destOrd="0" presId="urn:microsoft.com/office/officeart/2008/layout/HorizontalMultiLevelHierarchy"/>
    <dgm:cxn modelId="{DC513F61-7CD0-4C47-B815-90E6CB4978BA}" type="presOf" srcId="{C24B2AD7-9651-4B45-A8F4-0314EA8D4874}" destId="{27DD3461-0240-774A-8774-CC1A00541B61}" srcOrd="1" destOrd="0" presId="urn:microsoft.com/office/officeart/2008/layout/HorizontalMultiLevelHierarchy"/>
    <dgm:cxn modelId="{F678F832-C978-BE46-9156-7461A1255638}" type="presOf" srcId="{134C8002-4160-B046-917F-B9172D6D011E}" destId="{33DDFCA5-CC66-CC45-A430-EDF4DA53BA93}" srcOrd="0" destOrd="0" presId="urn:microsoft.com/office/officeart/2008/layout/HorizontalMultiLevelHierarchy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E36119B0-2E12-D642-A7C2-2593DC10AAB9}" type="presOf" srcId="{9EB1846C-ABB5-9E44-B030-7BE73C498E59}" destId="{60914178-E972-6747-98A5-9B1042D21399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1BC54834-D3BE-B64C-8414-532095465284}" type="presOf" srcId="{5E2A7D5A-EFB6-9C4F-A960-3D6903C39497}" destId="{E59B7B1E-3287-FB43-A405-2A84667315EC}" srcOrd="1" destOrd="0" presId="urn:microsoft.com/office/officeart/2008/layout/HorizontalMultiLevelHierarchy"/>
    <dgm:cxn modelId="{319B3554-A963-DB4D-ADBE-09021B0D6AF8}" type="presOf" srcId="{6577C284-4D20-2C4A-88D4-29EB6FEAC9C2}" destId="{A3F719CD-4C36-CF49-B90F-B8B40A2B29DE}" srcOrd="0" destOrd="0" presId="urn:microsoft.com/office/officeart/2008/layout/HorizontalMultiLevelHierarchy"/>
    <dgm:cxn modelId="{A09E995F-51BB-1541-8407-7DCAB6BB1EC4}" type="presOf" srcId="{75291F63-6D2A-BA4D-9808-5F545EE4CCF0}" destId="{9FB8B136-71A7-D34F-B7EB-BD8FC5C96ECE}" srcOrd="0" destOrd="0" presId="urn:microsoft.com/office/officeart/2008/layout/HorizontalMultiLevelHierarchy"/>
    <dgm:cxn modelId="{04602DE5-1378-F145-BB50-68AB655E732E}" type="presOf" srcId="{26144DC7-9794-3E4B-BF8F-331E25884D5F}" destId="{921A596F-4B37-494E-B07C-17FD734C6406}" srcOrd="0" destOrd="0" presId="urn:microsoft.com/office/officeart/2008/layout/HorizontalMultiLevelHierarchy"/>
    <dgm:cxn modelId="{9EB642F3-8CA2-3042-856A-5F651B7257B3}" type="presOf" srcId="{134C8002-4160-B046-917F-B9172D6D011E}" destId="{569810E7-365A-FB48-A979-23DA3465EF4F}" srcOrd="1" destOrd="0" presId="urn:microsoft.com/office/officeart/2008/layout/HorizontalMultiLevelHierarchy"/>
    <dgm:cxn modelId="{B7266411-8513-9845-BF99-BDA7DBAA6A0A}" type="presOf" srcId="{08733529-A5F0-F14D-8E75-74214329B040}" destId="{393A7F55-569D-7A48-ACE0-063418018375}" srcOrd="0" destOrd="0" presId="urn:microsoft.com/office/officeart/2008/layout/HorizontalMultiLevelHierarchy"/>
    <dgm:cxn modelId="{04232EFB-6852-BC47-92DD-3F7A48E68626}" type="presOf" srcId="{436C1B23-A07F-9344-ADAB-98173723FB7F}" destId="{B541F6A1-B2AA-7447-8E11-AC7AA5D5D50B}" srcOrd="0" destOrd="0" presId="urn:microsoft.com/office/officeart/2008/layout/HorizontalMultiLevelHierarchy"/>
    <dgm:cxn modelId="{2F33A296-98C9-4F40-9B93-162D016B866C}" type="presOf" srcId="{6577C284-4D20-2C4A-88D4-29EB6FEAC9C2}" destId="{348A166D-A55E-9147-99A1-FB87A4CF61A8}" srcOrd="1" destOrd="0" presId="urn:microsoft.com/office/officeart/2008/layout/HorizontalMultiLevelHierarchy"/>
    <dgm:cxn modelId="{253CA85F-7B37-744C-B390-70B29199BB4F}" type="presOf" srcId="{0726F871-37F4-AB40-AF73-6656D7E9C85D}" destId="{613226CB-11A4-C549-82A6-64B9BCFE1002}" srcOrd="0" destOrd="0" presId="urn:microsoft.com/office/officeart/2008/layout/HorizontalMultiLevelHierarchy"/>
    <dgm:cxn modelId="{39AEB81B-F3AA-194C-B5DF-38941CEA2BA2}" type="presOf" srcId="{5ADEDBF8-717E-F946-B11E-4CC50D9988C8}" destId="{AB33012A-8C54-6245-96E8-E0111C081E33}" srcOrd="1" destOrd="0" presId="urn:microsoft.com/office/officeart/2008/layout/HorizontalMultiLevelHierarchy"/>
    <dgm:cxn modelId="{A84AEA42-96AB-3543-B5BE-79B914AB622F}" type="presOf" srcId="{488E1B12-EE7C-9246-8169-00D4E05307C4}" destId="{5E781A07-1968-A143-88EC-827822313B55}" srcOrd="0" destOrd="0" presId="urn:microsoft.com/office/officeart/2008/layout/HorizontalMultiLevelHierarchy"/>
    <dgm:cxn modelId="{9A99CA18-AB10-3D4C-A1B7-6980EDB9C815}" type="presOf" srcId="{B8771036-12B2-D843-AA17-BB631BA3F87D}" destId="{F9B786D6-8B73-AC47-BEA7-3780A17C3E39}" srcOrd="0" destOrd="0" presId="urn:microsoft.com/office/officeart/2008/layout/HorizontalMultiLevelHierarchy"/>
    <dgm:cxn modelId="{B2616024-BC8A-FD4D-891C-39DF785A7A72}" type="presOf" srcId="{63D1AE09-4F57-A443-A1FD-2A3034962097}" destId="{B7A5E06F-5B4B-C947-BFA6-C1FA5998CE54}" srcOrd="0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499D2393-7DE2-3B42-980E-B6B34874FF68}" type="presOf" srcId="{E543121D-95F7-3E47-B964-B7B948211EBC}" destId="{C9D429FE-9539-9D4A-9750-F9C781598EC4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3160BDA5-B555-034D-A975-B59AF6A7A8E0}" type="presOf" srcId="{9EB1846C-ABB5-9E44-B030-7BE73C498E59}" destId="{03FF4E40-A0E8-E040-A52F-D68379DCC349}" srcOrd="1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61430F73-8C0C-7746-8214-159DFD5284E6}" type="presOf" srcId="{63D1AE09-4F57-A443-A1FD-2A3034962097}" destId="{04D949B2-6FA5-4948-B335-DDA85E4E65B1}" srcOrd="1" destOrd="0" presId="urn:microsoft.com/office/officeart/2008/layout/HorizontalMultiLevelHierarchy"/>
    <dgm:cxn modelId="{391A9075-D4EE-A948-87B5-3C933C410916}" type="presParOf" srcId="{613226CB-11A4-C549-82A6-64B9BCFE1002}" destId="{3BA40406-1E55-1642-A22A-B49F5A173AC8}" srcOrd="0" destOrd="0" presId="urn:microsoft.com/office/officeart/2008/layout/HorizontalMultiLevelHierarchy"/>
    <dgm:cxn modelId="{B55882F9-0124-9A43-93ED-300C7514C6C9}" type="presParOf" srcId="{3BA40406-1E55-1642-A22A-B49F5A173AC8}" destId="{99E936FD-8649-9640-96D2-9202E1CEC417}" srcOrd="0" destOrd="0" presId="urn:microsoft.com/office/officeart/2008/layout/HorizontalMultiLevelHierarchy"/>
    <dgm:cxn modelId="{B3325E74-0122-1349-89AA-37A2D49645F2}" type="presParOf" srcId="{3BA40406-1E55-1642-A22A-B49F5A173AC8}" destId="{598DBB90-9C26-4C4B-AC1C-FF1827BF8D97}" srcOrd="1" destOrd="0" presId="urn:microsoft.com/office/officeart/2008/layout/HorizontalMultiLevelHierarchy"/>
    <dgm:cxn modelId="{B921EEC2-6E66-2445-A47E-0A17BACBAC30}" type="presParOf" srcId="{598DBB90-9C26-4C4B-AC1C-FF1827BF8D97}" destId="{D778007E-9974-2C41-910F-E1E5562B090A}" srcOrd="0" destOrd="0" presId="urn:microsoft.com/office/officeart/2008/layout/HorizontalMultiLevelHierarchy"/>
    <dgm:cxn modelId="{19EF0FA3-DAAD-E746-A766-3EBC90F8A624}" type="presParOf" srcId="{D778007E-9974-2C41-910F-E1E5562B090A}" destId="{AB33012A-8C54-6245-96E8-E0111C081E33}" srcOrd="0" destOrd="0" presId="urn:microsoft.com/office/officeart/2008/layout/HorizontalMultiLevelHierarchy"/>
    <dgm:cxn modelId="{56A7D0B2-5A78-0F46-B98A-4FA242F26AA4}" type="presParOf" srcId="{598DBB90-9C26-4C4B-AC1C-FF1827BF8D97}" destId="{BCA6FE17-8DB6-0242-A6E4-C7D3971EBD97}" srcOrd="1" destOrd="0" presId="urn:microsoft.com/office/officeart/2008/layout/HorizontalMultiLevelHierarchy"/>
    <dgm:cxn modelId="{90BDDCEB-460B-3641-80CA-BBD6AB6EF268}" type="presParOf" srcId="{BCA6FE17-8DB6-0242-A6E4-C7D3971EBD97}" destId="{5E781A07-1968-A143-88EC-827822313B55}" srcOrd="0" destOrd="0" presId="urn:microsoft.com/office/officeart/2008/layout/HorizontalMultiLevelHierarchy"/>
    <dgm:cxn modelId="{C7C3A667-3031-EA4A-83C3-4AA30F10ED0B}" type="presParOf" srcId="{BCA6FE17-8DB6-0242-A6E4-C7D3971EBD97}" destId="{BDDED42C-20CE-EF4E-85AA-7830E9428B23}" srcOrd="1" destOrd="0" presId="urn:microsoft.com/office/officeart/2008/layout/HorizontalMultiLevelHierarchy"/>
    <dgm:cxn modelId="{5772D150-2401-B54D-A34A-EE11FAF766D1}" type="presParOf" srcId="{598DBB90-9C26-4C4B-AC1C-FF1827BF8D97}" destId="{B7A5E06F-5B4B-C947-BFA6-C1FA5998CE54}" srcOrd="2" destOrd="0" presId="urn:microsoft.com/office/officeart/2008/layout/HorizontalMultiLevelHierarchy"/>
    <dgm:cxn modelId="{5C0A5370-F92E-964C-8F67-221F4A3F9119}" type="presParOf" srcId="{B7A5E06F-5B4B-C947-BFA6-C1FA5998CE54}" destId="{04D949B2-6FA5-4948-B335-DDA85E4E65B1}" srcOrd="0" destOrd="0" presId="urn:microsoft.com/office/officeart/2008/layout/HorizontalMultiLevelHierarchy"/>
    <dgm:cxn modelId="{0BE15B88-40AC-0E43-B8BE-0F3B420F91F3}" type="presParOf" srcId="{598DBB90-9C26-4C4B-AC1C-FF1827BF8D97}" destId="{5B0B9041-BDB4-7141-9957-0BEAFB33AEFE}" srcOrd="3" destOrd="0" presId="urn:microsoft.com/office/officeart/2008/layout/HorizontalMultiLevelHierarchy"/>
    <dgm:cxn modelId="{FB539815-46F7-C144-A945-A7E4E739D68B}" type="presParOf" srcId="{5B0B9041-BDB4-7141-9957-0BEAFB33AEFE}" destId="{D35EA19E-870C-2F44-A620-E6B51FB20589}" srcOrd="0" destOrd="0" presId="urn:microsoft.com/office/officeart/2008/layout/HorizontalMultiLevelHierarchy"/>
    <dgm:cxn modelId="{0F249A8A-2E9C-B74E-A7F5-9DB58355A960}" type="presParOf" srcId="{5B0B9041-BDB4-7141-9957-0BEAFB33AEFE}" destId="{62348515-9687-1045-ADA1-3184EC8CEC61}" srcOrd="1" destOrd="0" presId="urn:microsoft.com/office/officeart/2008/layout/HorizontalMultiLevelHierarchy"/>
    <dgm:cxn modelId="{FCAAD600-272D-084F-BFC9-6397C4E29E92}" type="presParOf" srcId="{62348515-9687-1045-ADA1-3184EC8CEC61}" destId="{B541F6A1-B2AA-7447-8E11-AC7AA5D5D50B}" srcOrd="0" destOrd="0" presId="urn:microsoft.com/office/officeart/2008/layout/HorizontalMultiLevelHierarchy"/>
    <dgm:cxn modelId="{D4352461-74AE-3140-9E39-E2C0D1665826}" type="presParOf" srcId="{B541F6A1-B2AA-7447-8E11-AC7AA5D5D50B}" destId="{0637CC4E-4D30-724B-9FFD-C7AED88FB068}" srcOrd="0" destOrd="0" presId="urn:microsoft.com/office/officeart/2008/layout/HorizontalMultiLevelHierarchy"/>
    <dgm:cxn modelId="{01633F81-BC72-8144-BD21-12012C380969}" type="presParOf" srcId="{62348515-9687-1045-ADA1-3184EC8CEC61}" destId="{CA3C244E-E149-0742-ACEF-44B7ECE83631}" srcOrd="1" destOrd="0" presId="urn:microsoft.com/office/officeart/2008/layout/HorizontalMultiLevelHierarchy"/>
    <dgm:cxn modelId="{8AE83462-DF41-B144-B0E9-B8C955C181C4}" type="presParOf" srcId="{CA3C244E-E149-0742-ACEF-44B7ECE83631}" destId="{9FB8B136-71A7-D34F-B7EB-BD8FC5C96ECE}" srcOrd="0" destOrd="0" presId="urn:microsoft.com/office/officeart/2008/layout/HorizontalMultiLevelHierarchy"/>
    <dgm:cxn modelId="{90A63EF6-86F0-8A46-A8A4-ED2729B7891A}" type="presParOf" srcId="{CA3C244E-E149-0742-ACEF-44B7ECE83631}" destId="{9B46DB51-FCC5-AC41-BECD-E28037B564D0}" srcOrd="1" destOrd="0" presId="urn:microsoft.com/office/officeart/2008/layout/HorizontalMultiLevelHierarchy"/>
    <dgm:cxn modelId="{1826E6AB-93B6-074C-B147-DA4DF35D9E83}" type="presParOf" srcId="{62348515-9687-1045-ADA1-3184EC8CEC61}" destId="{2C1F9B08-4495-8146-8974-2654E99B2E9A}" srcOrd="2" destOrd="0" presId="urn:microsoft.com/office/officeart/2008/layout/HorizontalMultiLevelHierarchy"/>
    <dgm:cxn modelId="{094553EA-A46E-9448-A908-1DDB224AF592}" type="presParOf" srcId="{2C1F9B08-4495-8146-8974-2654E99B2E9A}" destId="{C9D429FE-9539-9D4A-9750-F9C781598EC4}" srcOrd="0" destOrd="0" presId="urn:microsoft.com/office/officeart/2008/layout/HorizontalMultiLevelHierarchy"/>
    <dgm:cxn modelId="{6E39AB90-A7CF-2B4C-AF1D-A6388D86EE34}" type="presParOf" srcId="{62348515-9687-1045-ADA1-3184EC8CEC61}" destId="{7F107BC0-209A-4C42-BEA6-B6817D5C9E09}" srcOrd="3" destOrd="0" presId="urn:microsoft.com/office/officeart/2008/layout/HorizontalMultiLevelHierarchy"/>
    <dgm:cxn modelId="{63918819-B6F5-D44D-AA6F-8D197198BD23}" type="presParOf" srcId="{7F107BC0-209A-4C42-BEA6-B6817D5C9E09}" destId="{4E546A01-1907-BB4F-B534-4E81DE6081F4}" srcOrd="0" destOrd="0" presId="urn:microsoft.com/office/officeart/2008/layout/HorizontalMultiLevelHierarchy"/>
    <dgm:cxn modelId="{453EACBD-F1C5-ED47-937A-FC6CF65916AA}" type="presParOf" srcId="{7F107BC0-209A-4C42-BEA6-B6817D5C9E09}" destId="{F5393339-32D0-CE4B-9AAA-4B6A114FA39A}" srcOrd="1" destOrd="0" presId="urn:microsoft.com/office/officeart/2008/layout/HorizontalMultiLevelHierarchy"/>
    <dgm:cxn modelId="{95F74D82-0B4C-074B-8665-29B17AC77AB2}" type="presParOf" srcId="{62348515-9687-1045-ADA1-3184EC8CEC61}" destId="{6D977B4C-E88D-6044-A647-A6CC29747BE1}" srcOrd="4" destOrd="0" presId="urn:microsoft.com/office/officeart/2008/layout/HorizontalMultiLevelHierarchy"/>
    <dgm:cxn modelId="{0D8861E0-F849-2944-B9EA-CB95414ED8F0}" type="presParOf" srcId="{6D977B4C-E88D-6044-A647-A6CC29747BE1}" destId="{756F0DD8-11FC-8647-8FC8-7AAB634C5717}" srcOrd="0" destOrd="0" presId="urn:microsoft.com/office/officeart/2008/layout/HorizontalMultiLevelHierarchy"/>
    <dgm:cxn modelId="{CD05EE9D-1302-F341-ADF8-E0EE1CCC0EE6}" type="presParOf" srcId="{62348515-9687-1045-ADA1-3184EC8CEC61}" destId="{BAA197B9-40F5-1D46-A384-973DDEA5160C}" srcOrd="5" destOrd="0" presId="urn:microsoft.com/office/officeart/2008/layout/HorizontalMultiLevelHierarchy"/>
    <dgm:cxn modelId="{FA0F7011-5A3E-7A44-AEBB-633261CA43CF}" type="presParOf" srcId="{BAA197B9-40F5-1D46-A384-973DDEA5160C}" destId="{3C43B809-8F2F-3641-8339-1043D47661D7}" srcOrd="0" destOrd="0" presId="urn:microsoft.com/office/officeart/2008/layout/HorizontalMultiLevelHierarchy"/>
    <dgm:cxn modelId="{0258C143-4BE3-DE4F-A67D-CC0CD49DA899}" type="presParOf" srcId="{BAA197B9-40F5-1D46-A384-973DDEA5160C}" destId="{F59926D0-D2AF-8940-B86B-A1820706A34B}" srcOrd="1" destOrd="0" presId="urn:microsoft.com/office/officeart/2008/layout/HorizontalMultiLevelHierarchy"/>
    <dgm:cxn modelId="{07839570-59C1-C343-9D31-063063215DCA}" type="presParOf" srcId="{598DBB90-9C26-4C4B-AC1C-FF1827BF8D97}" destId="{1442578F-E924-E34F-9FA5-3F4C2CF65BC9}" srcOrd="4" destOrd="0" presId="urn:microsoft.com/office/officeart/2008/layout/HorizontalMultiLevelHierarchy"/>
    <dgm:cxn modelId="{DFD6A796-02FE-0647-B546-5E3E69255E9F}" type="presParOf" srcId="{1442578F-E924-E34F-9FA5-3F4C2CF65BC9}" destId="{E59B7B1E-3287-FB43-A405-2A84667315EC}" srcOrd="0" destOrd="0" presId="urn:microsoft.com/office/officeart/2008/layout/HorizontalMultiLevelHierarchy"/>
    <dgm:cxn modelId="{491CBDB1-36E8-184B-805D-C8722A5238D8}" type="presParOf" srcId="{598DBB90-9C26-4C4B-AC1C-FF1827BF8D97}" destId="{6188AF91-8F5E-7F4E-A0A2-13FA32167F53}" srcOrd="5" destOrd="0" presId="urn:microsoft.com/office/officeart/2008/layout/HorizontalMultiLevelHierarchy"/>
    <dgm:cxn modelId="{FC93115E-AD6F-D649-BAC4-F07675A92148}" type="presParOf" srcId="{6188AF91-8F5E-7F4E-A0A2-13FA32167F53}" destId="{5167760A-1265-4C43-B02A-4A72B3B39F5E}" srcOrd="0" destOrd="0" presId="urn:microsoft.com/office/officeart/2008/layout/HorizontalMultiLevelHierarchy"/>
    <dgm:cxn modelId="{A7446CE4-365B-5C40-B545-64700705365E}" type="presParOf" srcId="{6188AF91-8F5E-7F4E-A0A2-13FA32167F53}" destId="{21F2C295-F343-AC4A-8BE2-CFD4DAC170AE}" srcOrd="1" destOrd="0" presId="urn:microsoft.com/office/officeart/2008/layout/HorizontalMultiLevelHierarchy"/>
    <dgm:cxn modelId="{892AE3D7-CE08-7D41-A1F5-ED46A0B9202E}" type="presParOf" srcId="{598DBB90-9C26-4C4B-AC1C-FF1827BF8D97}" destId="{A3F719CD-4C36-CF49-B90F-B8B40A2B29DE}" srcOrd="6" destOrd="0" presId="urn:microsoft.com/office/officeart/2008/layout/HorizontalMultiLevelHierarchy"/>
    <dgm:cxn modelId="{FBC0FBE6-2071-3E47-AF68-257D79554B3F}" type="presParOf" srcId="{A3F719CD-4C36-CF49-B90F-B8B40A2B29DE}" destId="{348A166D-A55E-9147-99A1-FB87A4CF61A8}" srcOrd="0" destOrd="0" presId="urn:microsoft.com/office/officeart/2008/layout/HorizontalMultiLevelHierarchy"/>
    <dgm:cxn modelId="{78218B54-2C8C-0646-842B-DE7E264EFF5F}" type="presParOf" srcId="{598DBB90-9C26-4C4B-AC1C-FF1827BF8D97}" destId="{175E4F2C-D898-EE44-A4E7-79846E237DB4}" srcOrd="7" destOrd="0" presId="urn:microsoft.com/office/officeart/2008/layout/HorizontalMultiLevelHierarchy"/>
    <dgm:cxn modelId="{3D8C4AB7-02BE-6F43-85E3-DA9DB1794E10}" type="presParOf" srcId="{175E4F2C-D898-EE44-A4E7-79846E237DB4}" destId="{921A596F-4B37-494E-B07C-17FD734C6406}" srcOrd="0" destOrd="0" presId="urn:microsoft.com/office/officeart/2008/layout/HorizontalMultiLevelHierarchy"/>
    <dgm:cxn modelId="{F191C47F-985E-2B4B-91E8-709805A4700D}" type="presParOf" srcId="{175E4F2C-D898-EE44-A4E7-79846E237DB4}" destId="{A9D518F9-DAB2-4E45-9ECB-39AA13A01564}" srcOrd="1" destOrd="0" presId="urn:microsoft.com/office/officeart/2008/layout/HorizontalMultiLevelHierarchy"/>
    <dgm:cxn modelId="{1C8FF68B-C173-3843-8A06-B15F13725F7F}" type="presParOf" srcId="{A9D518F9-DAB2-4E45-9ECB-39AA13A01564}" destId="{8AD8F429-D3CB-F748-A62E-81D3E0DD1FE1}" srcOrd="0" destOrd="0" presId="urn:microsoft.com/office/officeart/2008/layout/HorizontalMultiLevelHierarchy"/>
    <dgm:cxn modelId="{2F20EC1C-2D95-A140-BB1D-3EBB3A062206}" type="presParOf" srcId="{8AD8F429-D3CB-F748-A62E-81D3E0DD1FE1}" destId="{27DD3461-0240-774A-8774-CC1A00541B61}" srcOrd="0" destOrd="0" presId="urn:microsoft.com/office/officeart/2008/layout/HorizontalMultiLevelHierarchy"/>
    <dgm:cxn modelId="{7B85FBF4-34B8-B14E-B7AB-AEB03E55AE74}" type="presParOf" srcId="{A9D518F9-DAB2-4E45-9ECB-39AA13A01564}" destId="{11FBA7F4-3D95-3448-9648-3CEA03AB03A5}" srcOrd="1" destOrd="0" presId="urn:microsoft.com/office/officeart/2008/layout/HorizontalMultiLevelHierarchy"/>
    <dgm:cxn modelId="{EB9953BC-DE23-5347-84F9-0C8AEB557990}" type="presParOf" srcId="{11FBA7F4-3D95-3448-9648-3CEA03AB03A5}" destId="{33CE7315-72E8-4545-9EC6-56F4D0BEC64D}" srcOrd="0" destOrd="0" presId="urn:microsoft.com/office/officeart/2008/layout/HorizontalMultiLevelHierarchy"/>
    <dgm:cxn modelId="{05279DC0-AEE9-6E47-83E7-6FDB99BCC450}" type="presParOf" srcId="{11FBA7F4-3D95-3448-9648-3CEA03AB03A5}" destId="{F94ACA84-3A4A-0541-929E-9401CD7FB410}" srcOrd="1" destOrd="0" presId="urn:microsoft.com/office/officeart/2008/layout/HorizontalMultiLevelHierarchy"/>
    <dgm:cxn modelId="{1DF612FD-5971-EB47-9A39-8D20EF9175AB}" type="presParOf" srcId="{598DBB90-9C26-4C4B-AC1C-FF1827BF8D97}" destId="{33DDFCA5-CC66-CC45-A430-EDF4DA53BA93}" srcOrd="8" destOrd="0" presId="urn:microsoft.com/office/officeart/2008/layout/HorizontalMultiLevelHierarchy"/>
    <dgm:cxn modelId="{FAE31585-7FC5-4346-9A52-F529C353E647}" type="presParOf" srcId="{33DDFCA5-CC66-CC45-A430-EDF4DA53BA93}" destId="{569810E7-365A-FB48-A979-23DA3465EF4F}" srcOrd="0" destOrd="0" presId="urn:microsoft.com/office/officeart/2008/layout/HorizontalMultiLevelHierarchy"/>
    <dgm:cxn modelId="{C8369221-C036-E74E-B9ED-3B7716F8DB66}" type="presParOf" srcId="{598DBB90-9C26-4C4B-AC1C-FF1827BF8D97}" destId="{299D8B01-3ECB-7743-BE59-35C50BD6249A}" srcOrd="9" destOrd="0" presId="urn:microsoft.com/office/officeart/2008/layout/HorizontalMultiLevelHierarchy"/>
    <dgm:cxn modelId="{A4BB3ED9-A1FD-6E49-9125-32F16B45795A}" type="presParOf" srcId="{299D8B01-3ECB-7743-BE59-35C50BD6249A}" destId="{03DEAF18-EC72-C047-A9B4-C65BE189F02C}" srcOrd="0" destOrd="0" presId="urn:microsoft.com/office/officeart/2008/layout/HorizontalMultiLevelHierarchy"/>
    <dgm:cxn modelId="{5255CC0C-8B3A-5840-A8A4-3567128BC4B4}" type="presParOf" srcId="{299D8B01-3ECB-7743-BE59-35C50BD6249A}" destId="{322C5A5A-9E25-6047-BB00-4DF750E135CE}" srcOrd="1" destOrd="0" presId="urn:microsoft.com/office/officeart/2008/layout/HorizontalMultiLevelHierarchy"/>
    <dgm:cxn modelId="{AFD0A4BE-908F-284A-A12C-D44A320149B1}" type="presParOf" srcId="{322C5A5A-9E25-6047-BB00-4DF750E135CE}" destId="{393A7F55-569D-7A48-ACE0-063418018375}" srcOrd="0" destOrd="0" presId="urn:microsoft.com/office/officeart/2008/layout/HorizontalMultiLevelHierarchy"/>
    <dgm:cxn modelId="{3A49E26F-2B3E-644D-8BFA-A75B288C29E2}" type="presParOf" srcId="{393A7F55-569D-7A48-ACE0-063418018375}" destId="{A635BF91-C219-EB46-A0CA-F8A2CE3D7BF3}" srcOrd="0" destOrd="0" presId="urn:microsoft.com/office/officeart/2008/layout/HorizontalMultiLevelHierarchy"/>
    <dgm:cxn modelId="{057355D2-E4E4-4942-B93C-FAC09346B643}" type="presParOf" srcId="{322C5A5A-9E25-6047-BB00-4DF750E135CE}" destId="{55918953-A6CF-814A-89F9-551623EBC010}" srcOrd="1" destOrd="0" presId="urn:microsoft.com/office/officeart/2008/layout/HorizontalMultiLevelHierarchy"/>
    <dgm:cxn modelId="{BB633923-21A7-FF49-81CA-4BB9A1994E88}" type="presParOf" srcId="{55918953-A6CF-814A-89F9-551623EBC010}" destId="{448042B3-2CED-424C-815C-8FD3B3AD8A39}" srcOrd="0" destOrd="0" presId="urn:microsoft.com/office/officeart/2008/layout/HorizontalMultiLevelHierarchy"/>
    <dgm:cxn modelId="{38769A57-9528-9A4B-A22C-4978C72833A9}" type="presParOf" srcId="{55918953-A6CF-814A-89F9-551623EBC010}" destId="{4C59A0B4-1525-104C-AAB2-E79163983336}" srcOrd="1" destOrd="0" presId="urn:microsoft.com/office/officeart/2008/layout/HorizontalMultiLevelHierarchy"/>
    <dgm:cxn modelId="{75D6533B-A2E4-364E-B2D3-A240E79AD2F6}" type="presParOf" srcId="{322C5A5A-9E25-6047-BB00-4DF750E135CE}" destId="{64F502CF-3E90-0B4E-886C-91AB3F51938D}" srcOrd="2" destOrd="0" presId="urn:microsoft.com/office/officeart/2008/layout/HorizontalMultiLevelHierarchy"/>
    <dgm:cxn modelId="{A47CA908-F03F-204D-9D17-92305FA57EDA}" type="presParOf" srcId="{64F502CF-3E90-0B4E-886C-91AB3F51938D}" destId="{6FA82A28-C585-714B-9AF5-DA995FB3DF53}" srcOrd="0" destOrd="0" presId="urn:microsoft.com/office/officeart/2008/layout/HorizontalMultiLevelHierarchy"/>
    <dgm:cxn modelId="{4FA11EED-B9C7-5F41-89D5-016361435D7C}" type="presParOf" srcId="{322C5A5A-9E25-6047-BB00-4DF750E135CE}" destId="{EC8B6A62-9FAE-5045-A1A4-029DC2356DF7}" srcOrd="3" destOrd="0" presId="urn:microsoft.com/office/officeart/2008/layout/HorizontalMultiLevelHierarchy"/>
    <dgm:cxn modelId="{5FC3DEBE-E7E2-2E47-86A6-4EF5A6EF2BA9}" type="presParOf" srcId="{EC8B6A62-9FAE-5045-A1A4-029DC2356DF7}" destId="{F9B786D6-8B73-AC47-BEA7-3780A17C3E39}" srcOrd="0" destOrd="0" presId="urn:microsoft.com/office/officeart/2008/layout/HorizontalMultiLevelHierarchy"/>
    <dgm:cxn modelId="{095DC6DC-CC13-954F-873C-DA359CF425A0}" type="presParOf" srcId="{EC8B6A62-9FAE-5045-A1A4-029DC2356DF7}" destId="{6E27147E-0C63-E041-AB6B-5C0E60851726}" srcOrd="1" destOrd="0" presId="urn:microsoft.com/office/officeart/2008/layout/HorizontalMultiLevelHierarchy"/>
    <dgm:cxn modelId="{0B531379-8A8A-4F44-AE5A-C239FD0C6AF3}" type="presParOf" srcId="{598DBB90-9C26-4C4B-AC1C-FF1827BF8D97}" destId="{60914178-E972-6747-98A5-9B1042D21399}" srcOrd="10" destOrd="0" presId="urn:microsoft.com/office/officeart/2008/layout/HorizontalMultiLevelHierarchy"/>
    <dgm:cxn modelId="{0C3E6176-5581-3F41-BA96-855C8237F7C7}" type="presParOf" srcId="{60914178-E972-6747-98A5-9B1042D21399}" destId="{03FF4E40-A0E8-E040-A52F-D68379DCC349}" srcOrd="0" destOrd="0" presId="urn:microsoft.com/office/officeart/2008/layout/HorizontalMultiLevelHierarchy"/>
    <dgm:cxn modelId="{D1EE08A6-8BCF-6243-A84C-13CF4EE72F25}" type="presParOf" srcId="{598DBB90-9C26-4C4B-AC1C-FF1827BF8D97}" destId="{82D22835-936A-1D4B-AF7A-2D86C6FB8621}" srcOrd="11" destOrd="0" presId="urn:microsoft.com/office/officeart/2008/layout/HorizontalMultiLevelHierarchy"/>
    <dgm:cxn modelId="{9E5191FC-A35E-1044-A0C8-4F50D1971701}" type="presParOf" srcId="{82D22835-936A-1D4B-AF7A-2D86C6FB8621}" destId="{4D444EFA-484D-8B49-B53F-73AE5DAC83CB}" srcOrd="0" destOrd="0" presId="urn:microsoft.com/office/officeart/2008/layout/HorizontalMultiLevelHierarchy"/>
    <dgm:cxn modelId="{16F83CB7-8F5C-9D4C-BB15-9081201ACE90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/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9E1146D0-4015-2C41-A491-94028365756E}" type="presOf" srcId="{B8771036-12B2-D843-AA17-BB631BA3F87D}" destId="{F9B786D6-8B73-AC47-BEA7-3780A17C3E39}" srcOrd="0" destOrd="0" presId="urn:microsoft.com/office/officeart/2008/layout/HorizontalMultiLevelHierarchy"/>
    <dgm:cxn modelId="{D477BABF-8A83-3243-93EB-832A37B56F00}" type="presOf" srcId="{EF2BFDE9-4D1F-3049-B62C-65BE59459C50}" destId="{5167760A-1265-4C43-B02A-4A72B3B39F5E}" srcOrd="0" destOrd="0" presId="urn:microsoft.com/office/officeart/2008/layout/HorizontalMultiLevelHierarchy"/>
    <dgm:cxn modelId="{6FD5B6C5-F57E-1845-BB84-F233256B5BD1}" type="presOf" srcId="{08733529-A5F0-F14D-8E75-74214329B040}" destId="{393A7F55-569D-7A48-ACE0-063418018375}" srcOrd="0" destOrd="0" presId="urn:microsoft.com/office/officeart/2008/layout/HorizontalMultiLevelHierarchy"/>
    <dgm:cxn modelId="{22329844-81BD-FA4E-AB07-D037D1D4EA45}" type="presOf" srcId="{90FBF026-5068-6043-A75B-344D047E346D}" destId="{62990B64-CF79-7146-BF7B-48A759C6E310}" srcOrd="1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F6679AE8-E565-034E-8831-706F228EFB9E}" type="presOf" srcId="{BBD19103-9913-2A49-AB85-F021773D5328}" destId="{64F502CF-3E90-0B4E-886C-91AB3F51938D}" srcOrd="0" destOrd="0" presId="urn:microsoft.com/office/officeart/2008/layout/HorizontalMultiLevelHierarchy"/>
    <dgm:cxn modelId="{2DB98721-1C82-DB4D-B152-76196E8768EF}" type="presOf" srcId="{9EB1846C-ABB5-9E44-B030-7BE73C498E59}" destId="{60914178-E972-6747-98A5-9B1042D21399}" srcOrd="0" destOrd="0" presId="urn:microsoft.com/office/officeart/2008/layout/HorizontalMultiLevelHierarchy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3C6AD51F-BB0A-D54E-8B8D-2F4C2620214C}" type="presOf" srcId="{5E2A7D5A-EFB6-9C4F-A960-3D6903C39497}" destId="{E59B7B1E-3287-FB43-A405-2A84667315EC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8C996BA4-2C07-9247-BCF3-754299035679}" type="presOf" srcId="{90FBF026-5068-6043-A75B-344D047E346D}" destId="{2242491C-75CB-654B-ABCA-74AF8E25B4E8}" srcOrd="0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B3BB85CE-B5B7-B54E-ACAE-47CE5A30A972}" type="presOf" srcId="{5E2A7D5A-EFB6-9C4F-A960-3D6903C39497}" destId="{1442578F-E924-E34F-9FA5-3F4C2CF65BC9}" srcOrd="0" destOrd="0" presId="urn:microsoft.com/office/officeart/2008/layout/HorizontalMultiLevelHierarchy"/>
    <dgm:cxn modelId="{BFAA9DBB-E195-CD4C-94E3-3A5E2FE7F223}" type="presOf" srcId="{B3C905E3-C669-9942-AEC9-21A47474CEB4}" destId="{DB79995B-B315-9C4C-BCA0-97AF2CF960CD}" srcOrd="1" destOrd="0" presId="urn:microsoft.com/office/officeart/2008/layout/HorizontalMultiLevelHierarchy"/>
    <dgm:cxn modelId="{2E168003-D5CB-9247-AFFB-DC3C31593853}" type="presOf" srcId="{0726F871-37F4-AB40-AF73-6656D7E9C85D}" destId="{613226CB-11A4-C549-82A6-64B9BCFE1002}" srcOrd="0" destOrd="0" presId="urn:microsoft.com/office/officeart/2008/layout/HorizontalMultiLevelHierarchy"/>
    <dgm:cxn modelId="{DDEA205A-8C28-3048-AD08-24B993A3A198}" type="presOf" srcId="{8B212141-5DD9-384A-A240-561E72DAAF7B}" destId="{21C89BDE-E13D-974B-B17D-6B6CDBB2C8DB}" srcOrd="0" destOrd="0" presId="urn:microsoft.com/office/officeart/2008/layout/HorizontalMultiLevelHierarchy"/>
    <dgm:cxn modelId="{11A14AA2-7CED-DD48-BD7B-457687C9AD7B}" type="presOf" srcId="{08733529-A5F0-F14D-8E75-74214329B040}" destId="{A635BF91-C219-EB46-A0CA-F8A2CE3D7BF3}" srcOrd="1" destOrd="0" presId="urn:microsoft.com/office/officeart/2008/layout/HorizontalMultiLevelHierarchy"/>
    <dgm:cxn modelId="{945A5DFA-DA16-1943-930B-1752382A1DD4}" type="presOf" srcId="{80BD7623-DCEC-2448-AB85-7A6B177B6EBB}" destId="{73B69BAE-7567-8E4E-A9B2-D2862F6B978E}" srcOrd="0" destOrd="0" presId="urn:microsoft.com/office/officeart/2008/layout/HorizontalMultiLevelHierarchy"/>
    <dgm:cxn modelId="{E9ECA964-A81D-A444-B2BE-2D1788332E84}" type="presOf" srcId="{6577C284-4D20-2C4A-88D4-29EB6FEAC9C2}" destId="{A3F719CD-4C36-CF49-B90F-B8B40A2B29DE}" srcOrd="0" destOrd="0" presId="urn:microsoft.com/office/officeart/2008/layout/HorizontalMultiLevelHierarchy"/>
    <dgm:cxn modelId="{539D6ECE-A4CE-A344-B9A1-C04D222DE0C9}" type="presOf" srcId="{73DD7058-02B4-D24C-9D13-AF75375EF8E6}" destId="{55365CED-83D4-194F-A914-2CFC37CD9B4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9F5DC3D9-5B59-6E43-BD7E-202012F9C47B}" type="presOf" srcId="{7E0C02E8-17C2-874D-B6DE-8E3A1D3437C9}" destId="{448042B3-2CED-424C-815C-8FD3B3AD8A39}" srcOrd="0" destOrd="0" presId="urn:microsoft.com/office/officeart/2008/layout/HorizontalMultiLevelHierarchy"/>
    <dgm:cxn modelId="{44AF9A40-80C5-1542-8810-E2DA76B111FA}" type="presOf" srcId="{63D1AE09-4F57-A443-A1FD-2A3034962097}" destId="{B7A5E06F-5B4B-C947-BFA6-C1FA5998CE54}" srcOrd="0" destOrd="0" presId="urn:microsoft.com/office/officeart/2008/layout/HorizontalMultiLevelHierarchy"/>
    <dgm:cxn modelId="{3A3F7E2C-5239-A343-84EC-50C2CB659B9E}" type="presOf" srcId="{07A4D93E-7AFB-4E4D-8384-CFBE7085BD56}" destId="{9D34DFA2-4C7C-5642-ADF0-8F3EDFBC71AF}" srcOrd="1" destOrd="0" presId="urn:microsoft.com/office/officeart/2008/layout/HorizontalMultiLevelHierarchy"/>
    <dgm:cxn modelId="{0074F25B-73E5-5240-9993-30BE0FDE9ED2}" type="presOf" srcId="{11D7D97A-F1CC-6A49-92BA-1094CF9B8EE3}" destId="{84732D04-01E1-2742-A082-1195BCDCDEC2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91AD0506-34C4-4D44-A087-CA1E032258DB}" type="presOf" srcId="{B4B50EEB-1538-DF45-B07F-7D0FD83C8ED3}" destId="{91975744-72FE-E947-98E3-ECF3B2E7C3DC}" srcOrd="0" destOrd="0" presId="urn:microsoft.com/office/officeart/2008/layout/HorizontalMultiLevelHierarchy"/>
    <dgm:cxn modelId="{57A3A55F-475C-6141-BF57-A262DFC7873B}" type="presOf" srcId="{07A4D93E-7AFB-4E4D-8384-CFBE7085BD56}" destId="{42308E2A-E89A-524C-8598-CEBE02495F63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49909678-68DC-3D44-AF8C-8B7614E37B0D}" type="presOf" srcId="{134C8002-4160-B046-917F-B9172D6D011E}" destId="{33DDFCA5-CC66-CC45-A430-EDF4DA53BA93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C96C2F8B-9993-2141-B3E5-A356488F7190}" type="presOf" srcId="{BA9C693C-1CF5-6E4E-A8C4-1E304AFD6DF5}" destId="{99E936FD-8649-9640-96D2-9202E1CEC417}" srcOrd="0" destOrd="0" presId="urn:microsoft.com/office/officeart/2008/layout/HorizontalMultiLevelHierarchy"/>
    <dgm:cxn modelId="{CE468ED6-F147-6C48-AA5E-C24FBB4ECA9D}" type="presOf" srcId="{B3C905E3-C669-9942-AEC9-21A47474CEB4}" destId="{996189F3-00B3-7D49-A5FC-5430A26FB618}" srcOrd="0" destOrd="0" presId="urn:microsoft.com/office/officeart/2008/layout/HorizontalMultiLevelHierarchy"/>
    <dgm:cxn modelId="{41C9F18E-52FB-F44C-B57F-73ECFE8502F8}" type="presOf" srcId="{990267CF-EA89-A240-9514-9AFC12BBADEE}" destId="{03DEAF18-EC72-C047-A9B4-C65BE189F02C}" srcOrd="0" destOrd="0" presId="urn:microsoft.com/office/officeart/2008/layout/HorizontalMultiLevelHierarchy"/>
    <dgm:cxn modelId="{17B7AD84-B553-CF41-94B4-5AFA2F94A625}" type="presOf" srcId="{C0976C3D-B466-7D45-ABFB-2E3685B2F19C}" destId="{D35EA19E-870C-2F44-A620-E6B51FB20589}" srcOrd="0" destOrd="0" presId="urn:microsoft.com/office/officeart/2008/layout/HorizontalMultiLevelHierarchy"/>
    <dgm:cxn modelId="{DE792131-4AC3-4745-9C70-4300EEBCE238}" type="presOf" srcId="{1333B56B-0FB7-DB46-BFA8-14BA9E09141B}" destId="{9E30CAA0-C8DA-7340-9AC5-F7AFBAE25743}" srcOrd="0" destOrd="0" presId="urn:microsoft.com/office/officeart/2008/layout/HorizontalMultiLevelHierarchy"/>
    <dgm:cxn modelId="{13F04342-AA9D-DF47-9E27-2155B423E139}" type="presOf" srcId="{73DD7058-02B4-D24C-9D13-AF75375EF8E6}" destId="{12E46C15-0F90-7843-8745-7EFB583D5A38}" srcOrd="1" destOrd="0" presId="urn:microsoft.com/office/officeart/2008/layout/HorizontalMultiLevelHierarchy"/>
    <dgm:cxn modelId="{7B36FE30-5707-144B-9EB1-F7BFF6EC6C9A}" type="presOf" srcId="{9EB1846C-ABB5-9E44-B030-7BE73C498E59}" destId="{03FF4E40-A0E8-E040-A52F-D68379DCC349}" srcOrd="1" destOrd="0" presId="urn:microsoft.com/office/officeart/2008/layout/HorizontalMultiLevelHierarchy"/>
    <dgm:cxn modelId="{BF69B030-A453-AD4B-90EA-A512C664343E}" type="presOf" srcId="{BBD19103-9913-2A49-AB85-F021773D5328}" destId="{6FA82A28-C585-714B-9AF5-DA995FB3DF53}" srcOrd="1" destOrd="0" presId="urn:microsoft.com/office/officeart/2008/layout/HorizontalMultiLevelHierarchy"/>
    <dgm:cxn modelId="{25519A16-846A-4546-A203-EC25F7CDE336}" type="presOf" srcId="{B4B50EEB-1538-DF45-B07F-7D0FD83C8ED3}" destId="{7C4C248C-9225-884B-A9F0-E626AEAE24C9}" srcOrd="1" destOrd="0" presId="urn:microsoft.com/office/officeart/2008/layout/HorizontalMultiLevelHierarchy"/>
    <dgm:cxn modelId="{0D932AE7-676D-8F4B-9241-83B67817CE7C}" type="presOf" srcId="{174F7A28-653D-6F45-9860-935E35504EE1}" destId="{4D444EFA-484D-8B49-B53F-73AE5DAC83CB}" srcOrd="0" destOrd="0" presId="urn:microsoft.com/office/officeart/2008/layout/HorizontalMultiLevelHierarchy"/>
    <dgm:cxn modelId="{D2D099F0-B2E6-8F4E-A492-AD0A25E6662B}" type="presOf" srcId="{134C8002-4160-B046-917F-B9172D6D011E}" destId="{569810E7-365A-FB48-A979-23DA3465EF4F}" srcOrd="1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FDBC8E73-8046-3243-95E4-33084344BF05}" type="presOf" srcId="{63D1AE09-4F57-A443-A1FD-2A3034962097}" destId="{04D949B2-6FA5-4948-B335-DDA85E4E65B1}" srcOrd="1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AE513E3-9BF5-BD49-963D-BEAD899A5E26}" type="presOf" srcId="{5ADEDBF8-717E-F946-B11E-4CC50D9988C8}" destId="{AB33012A-8C54-6245-96E8-E0111C081E33}" srcOrd="1" destOrd="0" presId="urn:microsoft.com/office/officeart/2008/layout/HorizontalMultiLevelHierarchy"/>
    <dgm:cxn modelId="{01562438-BA61-B746-9D22-AEBA7C2BE273}" type="presOf" srcId="{516F75D9-69F5-0544-995D-CFB72352B59F}" destId="{887F982A-9047-D440-AFAC-0FD9C008886A}" srcOrd="0" destOrd="0" presId="urn:microsoft.com/office/officeart/2008/layout/HorizontalMultiLevelHierarchy"/>
    <dgm:cxn modelId="{51F73DF4-E913-B543-AF2F-C003531A7C99}" type="presOf" srcId="{26144DC7-9794-3E4B-BF8F-331E25884D5F}" destId="{921A596F-4B37-494E-B07C-17FD734C6406}" srcOrd="0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C0D57737-3B58-3F46-ABC5-C87E7BFA1B45}" type="presOf" srcId="{5ADEDBF8-717E-F946-B11E-4CC50D9988C8}" destId="{D778007E-9974-2C41-910F-E1E5562B090A}" srcOrd="0" destOrd="0" presId="urn:microsoft.com/office/officeart/2008/layout/HorizontalMultiLevelHierarchy"/>
    <dgm:cxn modelId="{717AF581-1028-614A-BBA4-542BB7C0E86F}" type="presOf" srcId="{6577C284-4D20-2C4A-88D4-29EB6FEAC9C2}" destId="{348A166D-A55E-9147-99A1-FB87A4CF61A8}" srcOrd="1" destOrd="0" presId="urn:microsoft.com/office/officeart/2008/layout/HorizontalMultiLevelHierarchy"/>
    <dgm:cxn modelId="{33B9426D-4D79-FD40-B608-763408318ECB}" type="presOf" srcId="{488E1B12-EE7C-9246-8169-00D4E05307C4}" destId="{5E781A07-1968-A143-88EC-827822313B55}" srcOrd="0" destOrd="0" presId="urn:microsoft.com/office/officeart/2008/layout/HorizontalMultiLevelHierarchy"/>
    <dgm:cxn modelId="{ECC41502-9EC3-6446-9DC1-C64A4A183206}" type="presParOf" srcId="{613226CB-11A4-C549-82A6-64B9BCFE1002}" destId="{3BA40406-1E55-1642-A22A-B49F5A173AC8}" srcOrd="0" destOrd="0" presId="urn:microsoft.com/office/officeart/2008/layout/HorizontalMultiLevelHierarchy"/>
    <dgm:cxn modelId="{28130199-34DF-2547-A8FE-2E294A28EDEA}" type="presParOf" srcId="{3BA40406-1E55-1642-A22A-B49F5A173AC8}" destId="{99E936FD-8649-9640-96D2-9202E1CEC417}" srcOrd="0" destOrd="0" presId="urn:microsoft.com/office/officeart/2008/layout/HorizontalMultiLevelHierarchy"/>
    <dgm:cxn modelId="{9FF50004-F59E-8F40-9B0E-28BF7E58B290}" type="presParOf" srcId="{3BA40406-1E55-1642-A22A-B49F5A173AC8}" destId="{598DBB90-9C26-4C4B-AC1C-FF1827BF8D97}" srcOrd="1" destOrd="0" presId="urn:microsoft.com/office/officeart/2008/layout/HorizontalMultiLevelHierarchy"/>
    <dgm:cxn modelId="{9B31A8DB-D3AF-044E-A226-AD28472E43B4}" type="presParOf" srcId="{598DBB90-9C26-4C4B-AC1C-FF1827BF8D97}" destId="{D778007E-9974-2C41-910F-E1E5562B090A}" srcOrd="0" destOrd="0" presId="urn:microsoft.com/office/officeart/2008/layout/HorizontalMultiLevelHierarchy"/>
    <dgm:cxn modelId="{9C6BE2E1-9C7D-F14B-8324-03AAF603D26E}" type="presParOf" srcId="{D778007E-9974-2C41-910F-E1E5562B090A}" destId="{AB33012A-8C54-6245-96E8-E0111C081E33}" srcOrd="0" destOrd="0" presId="urn:microsoft.com/office/officeart/2008/layout/HorizontalMultiLevelHierarchy"/>
    <dgm:cxn modelId="{020BF7A4-561C-B749-8E87-DC306ED578DF}" type="presParOf" srcId="{598DBB90-9C26-4C4B-AC1C-FF1827BF8D97}" destId="{BCA6FE17-8DB6-0242-A6E4-C7D3971EBD97}" srcOrd="1" destOrd="0" presId="urn:microsoft.com/office/officeart/2008/layout/HorizontalMultiLevelHierarchy"/>
    <dgm:cxn modelId="{B024A874-8B86-ED4E-B0C8-AB115E4CBA3F}" type="presParOf" srcId="{BCA6FE17-8DB6-0242-A6E4-C7D3971EBD97}" destId="{5E781A07-1968-A143-88EC-827822313B55}" srcOrd="0" destOrd="0" presId="urn:microsoft.com/office/officeart/2008/layout/HorizontalMultiLevelHierarchy"/>
    <dgm:cxn modelId="{5181B41B-061E-C84B-BD3C-0E019BC7F574}" type="presParOf" srcId="{BCA6FE17-8DB6-0242-A6E4-C7D3971EBD97}" destId="{BDDED42C-20CE-EF4E-85AA-7830E9428B23}" srcOrd="1" destOrd="0" presId="urn:microsoft.com/office/officeart/2008/layout/HorizontalMultiLevelHierarchy"/>
    <dgm:cxn modelId="{6C7B9B27-9C47-9B4E-A420-2941B363B45B}" type="presParOf" srcId="{598DBB90-9C26-4C4B-AC1C-FF1827BF8D97}" destId="{B7A5E06F-5B4B-C947-BFA6-C1FA5998CE54}" srcOrd="2" destOrd="0" presId="urn:microsoft.com/office/officeart/2008/layout/HorizontalMultiLevelHierarchy"/>
    <dgm:cxn modelId="{DBD40E3A-BE9B-0240-8899-BB64E49BCB04}" type="presParOf" srcId="{B7A5E06F-5B4B-C947-BFA6-C1FA5998CE54}" destId="{04D949B2-6FA5-4948-B335-DDA85E4E65B1}" srcOrd="0" destOrd="0" presId="urn:microsoft.com/office/officeart/2008/layout/HorizontalMultiLevelHierarchy"/>
    <dgm:cxn modelId="{40E41E46-1893-994A-9400-9123B31BF437}" type="presParOf" srcId="{598DBB90-9C26-4C4B-AC1C-FF1827BF8D97}" destId="{5B0B9041-BDB4-7141-9957-0BEAFB33AEFE}" srcOrd="3" destOrd="0" presId="urn:microsoft.com/office/officeart/2008/layout/HorizontalMultiLevelHierarchy"/>
    <dgm:cxn modelId="{E85E69CD-8E9A-7F4B-9A59-3ABF8309FD40}" type="presParOf" srcId="{5B0B9041-BDB4-7141-9957-0BEAFB33AEFE}" destId="{D35EA19E-870C-2F44-A620-E6B51FB20589}" srcOrd="0" destOrd="0" presId="urn:microsoft.com/office/officeart/2008/layout/HorizontalMultiLevelHierarchy"/>
    <dgm:cxn modelId="{AC6D34F3-3F59-D94C-8E26-91A1DED329D3}" type="presParOf" srcId="{5B0B9041-BDB4-7141-9957-0BEAFB33AEFE}" destId="{62348515-9687-1045-ADA1-3184EC8CEC61}" srcOrd="1" destOrd="0" presId="urn:microsoft.com/office/officeart/2008/layout/HorizontalMultiLevelHierarchy"/>
    <dgm:cxn modelId="{0127F079-BB68-7645-9B69-A3CBEE9E91B5}" type="presParOf" srcId="{598DBB90-9C26-4C4B-AC1C-FF1827BF8D97}" destId="{42308E2A-E89A-524C-8598-CEBE02495F63}" srcOrd="4" destOrd="0" presId="urn:microsoft.com/office/officeart/2008/layout/HorizontalMultiLevelHierarchy"/>
    <dgm:cxn modelId="{5E038FBD-2112-C649-9DEB-3DDE4E3193BA}" type="presParOf" srcId="{42308E2A-E89A-524C-8598-CEBE02495F63}" destId="{9D34DFA2-4C7C-5642-ADF0-8F3EDFBC71AF}" srcOrd="0" destOrd="0" presId="urn:microsoft.com/office/officeart/2008/layout/HorizontalMultiLevelHierarchy"/>
    <dgm:cxn modelId="{849A2D13-E683-2749-A728-D6E1966E5A39}" type="presParOf" srcId="{598DBB90-9C26-4C4B-AC1C-FF1827BF8D97}" destId="{5A37FE29-273D-2F4A-BA74-A981AFDF7035}" srcOrd="5" destOrd="0" presId="urn:microsoft.com/office/officeart/2008/layout/HorizontalMultiLevelHierarchy"/>
    <dgm:cxn modelId="{0726D3AD-9FF9-7940-AEE2-B477F7D29CB9}" type="presParOf" srcId="{5A37FE29-273D-2F4A-BA74-A981AFDF7035}" destId="{887F982A-9047-D440-AFAC-0FD9C008886A}" srcOrd="0" destOrd="0" presId="urn:microsoft.com/office/officeart/2008/layout/HorizontalMultiLevelHierarchy"/>
    <dgm:cxn modelId="{8ED1D52A-0987-5645-8016-35FDF3EAFA33}" type="presParOf" srcId="{5A37FE29-273D-2F4A-BA74-A981AFDF7035}" destId="{740B7AF0-357F-C843-8A5C-C85C349471AE}" srcOrd="1" destOrd="0" presId="urn:microsoft.com/office/officeart/2008/layout/HorizontalMultiLevelHierarchy"/>
    <dgm:cxn modelId="{4196BAED-8B5A-9148-AC34-B94477AB4922}" type="presParOf" srcId="{598DBB90-9C26-4C4B-AC1C-FF1827BF8D97}" destId="{996189F3-00B3-7D49-A5FC-5430A26FB618}" srcOrd="6" destOrd="0" presId="urn:microsoft.com/office/officeart/2008/layout/HorizontalMultiLevelHierarchy"/>
    <dgm:cxn modelId="{82E93E0D-7914-6E45-BD6A-106E10704112}" type="presParOf" srcId="{996189F3-00B3-7D49-A5FC-5430A26FB618}" destId="{DB79995B-B315-9C4C-BCA0-97AF2CF960CD}" srcOrd="0" destOrd="0" presId="urn:microsoft.com/office/officeart/2008/layout/HorizontalMultiLevelHierarchy"/>
    <dgm:cxn modelId="{9FE80335-8993-EA48-A952-F34EF1D4B7D3}" type="presParOf" srcId="{598DBB90-9C26-4C4B-AC1C-FF1827BF8D97}" destId="{7361FCA1-91C1-7340-94A4-772CB0377746}" srcOrd="7" destOrd="0" presId="urn:microsoft.com/office/officeart/2008/layout/HorizontalMultiLevelHierarchy"/>
    <dgm:cxn modelId="{DC4AE90C-2822-7845-839E-1FF6742591BC}" type="presParOf" srcId="{7361FCA1-91C1-7340-94A4-772CB0377746}" destId="{9E30CAA0-C8DA-7340-9AC5-F7AFBAE25743}" srcOrd="0" destOrd="0" presId="urn:microsoft.com/office/officeart/2008/layout/HorizontalMultiLevelHierarchy"/>
    <dgm:cxn modelId="{354A652D-F52B-EF43-AAAF-797F60D9FB0F}" type="presParOf" srcId="{7361FCA1-91C1-7340-94A4-772CB0377746}" destId="{75AE1B1C-8672-CF47-8665-1AE6D32AB23F}" srcOrd="1" destOrd="0" presId="urn:microsoft.com/office/officeart/2008/layout/HorizontalMultiLevelHierarchy"/>
    <dgm:cxn modelId="{2330601F-3A92-3B45-A07D-54F6A025BF79}" type="presParOf" srcId="{598DBB90-9C26-4C4B-AC1C-FF1827BF8D97}" destId="{1442578F-E924-E34F-9FA5-3F4C2CF65BC9}" srcOrd="8" destOrd="0" presId="urn:microsoft.com/office/officeart/2008/layout/HorizontalMultiLevelHierarchy"/>
    <dgm:cxn modelId="{5FA3EB37-9136-A241-9077-91318E60646B}" type="presParOf" srcId="{1442578F-E924-E34F-9FA5-3F4C2CF65BC9}" destId="{E59B7B1E-3287-FB43-A405-2A84667315EC}" srcOrd="0" destOrd="0" presId="urn:microsoft.com/office/officeart/2008/layout/HorizontalMultiLevelHierarchy"/>
    <dgm:cxn modelId="{26DECB97-6A98-9B49-9FD2-9A48BE8191AA}" type="presParOf" srcId="{598DBB90-9C26-4C4B-AC1C-FF1827BF8D97}" destId="{6188AF91-8F5E-7F4E-A0A2-13FA32167F53}" srcOrd="9" destOrd="0" presId="urn:microsoft.com/office/officeart/2008/layout/HorizontalMultiLevelHierarchy"/>
    <dgm:cxn modelId="{0A80CBE8-2346-E346-BDD7-38F7BC13A11C}" type="presParOf" srcId="{6188AF91-8F5E-7F4E-A0A2-13FA32167F53}" destId="{5167760A-1265-4C43-B02A-4A72B3B39F5E}" srcOrd="0" destOrd="0" presId="urn:microsoft.com/office/officeart/2008/layout/HorizontalMultiLevelHierarchy"/>
    <dgm:cxn modelId="{EBC98FED-EF91-3049-87BE-A46B3BBE6AB9}" type="presParOf" srcId="{6188AF91-8F5E-7F4E-A0A2-13FA32167F53}" destId="{21F2C295-F343-AC4A-8BE2-CFD4DAC170AE}" srcOrd="1" destOrd="0" presId="urn:microsoft.com/office/officeart/2008/layout/HorizontalMultiLevelHierarchy"/>
    <dgm:cxn modelId="{DE40853B-31EA-9940-8EC8-B96943873AF5}" type="presParOf" srcId="{598DBB90-9C26-4C4B-AC1C-FF1827BF8D97}" destId="{A3F719CD-4C36-CF49-B90F-B8B40A2B29DE}" srcOrd="10" destOrd="0" presId="urn:microsoft.com/office/officeart/2008/layout/HorizontalMultiLevelHierarchy"/>
    <dgm:cxn modelId="{748E3EA9-A058-CD4B-88D7-55E09CFE98CD}" type="presParOf" srcId="{A3F719CD-4C36-CF49-B90F-B8B40A2B29DE}" destId="{348A166D-A55E-9147-99A1-FB87A4CF61A8}" srcOrd="0" destOrd="0" presId="urn:microsoft.com/office/officeart/2008/layout/HorizontalMultiLevelHierarchy"/>
    <dgm:cxn modelId="{4B3F06AE-1CB3-7B48-9D19-FBE68F769073}" type="presParOf" srcId="{598DBB90-9C26-4C4B-AC1C-FF1827BF8D97}" destId="{175E4F2C-D898-EE44-A4E7-79846E237DB4}" srcOrd="11" destOrd="0" presId="urn:microsoft.com/office/officeart/2008/layout/HorizontalMultiLevelHierarchy"/>
    <dgm:cxn modelId="{6FBD4B1F-D017-2247-BCD4-3F5D2A840EBA}" type="presParOf" srcId="{175E4F2C-D898-EE44-A4E7-79846E237DB4}" destId="{921A596F-4B37-494E-B07C-17FD734C6406}" srcOrd="0" destOrd="0" presId="urn:microsoft.com/office/officeart/2008/layout/HorizontalMultiLevelHierarchy"/>
    <dgm:cxn modelId="{DBEFD717-F748-7140-84DB-4D02250AE771}" type="presParOf" srcId="{175E4F2C-D898-EE44-A4E7-79846E237DB4}" destId="{A9D518F9-DAB2-4E45-9ECB-39AA13A01564}" srcOrd="1" destOrd="0" presId="urn:microsoft.com/office/officeart/2008/layout/HorizontalMultiLevelHierarchy"/>
    <dgm:cxn modelId="{CE033593-3ACC-E945-B00D-A8E8AC4CAB1A}" type="presParOf" srcId="{598DBB90-9C26-4C4B-AC1C-FF1827BF8D97}" destId="{33DDFCA5-CC66-CC45-A430-EDF4DA53BA93}" srcOrd="12" destOrd="0" presId="urn:microsoft.com/office/officeart/2008/layout/HorizontalMultiLevelHierarchy"/>
    <dgm:cxn modelId="{CAB7D15F-D38A-B640-9871-76462562A599}" type="presParOf" srcId="{33DDFCA5-CC66-CC45-A430-EDF4DA53BA93}" destId="{569810E7-365A-FB48-A979-23DA3465EF4F}" srcOrd="0" destOrd="0" presId="urn:microsoft.com/office/officeart/2008/layout/HorizontalMultiLevelHierarchy"/>
    <dgm:cxn modelId="{B07D7ECD-8A76-AD44-B2BF-733C909A655C}" type="presParOf" srcId="{598DBB90-9C26-4C4B-AC1C-FF1827BF8D97}" destId="{299D8B01-3ECB-7743-BE59-35C50BD6249A}" srcOrd="13" destOrd="0" presId="urn:microsoft.com/office/officeart/2008/layout/HorizontalMultiLevelHierarchy"/>
    <dgm:cxn modelId="{FDA51BFA-E603-9F49-B62E-3BCE25F179F2}" type="presParOf" srcId="{299D8B01-3ECB-7743-BE59-35C50BD6249A}" destId="{03DEAF18-EC72-C047-A9B4-C65BE189F02C}" srcOrd="0" destOrd="0" presId="urn:microsoft.com/office/officeart/2008/layout/HorizontalMultiLevelHierarchy"/>
    <dgm:cxn modelId="{FB765340-1F41-8444-9C9D-E0C9508011FF}" type="presParOf" srcId="{299D8B01-3ECB-7743-BE59-35C50BD6249A}" destId="{322C5A5A-9E25-6047-BB00-4DF750E135CE}" srcOrd="1" destOrd="0" presId="urn:microsoft.com/office/officeart/2008/layout/HorizontalMultiLevelHierarchy"/>
    <dgm:cxn modelId="{9FF6929F-114B-FC4C-A2F2-069A89D155A2}" type="presParOf" srcId="{322C5A5A-9E25-6047-BB00-4DF750E135CE}" destId="{393A7F55-569D-7A48-ACE0-063418018375}" srcOrd="0" destOrd="0" presId="urn:microsoft.com/office/officeart/2008/layout/HorizontalMultiLevelHierarchy"/>
    <dgm:cxn modelId="{7F1CEF4C-6956-3845-A86B-BE808E6568A7}" type="presParOf" srcId="{393A7F55-569D-7A48-ACE0-063418018375}" destId="{A635BF91-C219-EB46-A0CA-F8A2CE3D7BF3}" srcOrd="0" destOrd="0" presId="urn:microsoft.com/office/officeart/2008/layout/HorizontalMultiLevelHierarchy"/>
    <dgm:cxn modelId="{A38101B8-5F3E-754D-9283-87A343D0A7B6}" type="presParOf" srcId="{322C5A5A-9E25-6047-BB00-4DF750E135CE}" destId="{55918953-A6CF-814A-89F9-551623EBC010}" srcOrd="1" destOrd="0" presId="urn:microsoft.com/office/officeart/2008/layout/HorizontalMultiLevelHierarchy"/>
    <dgm:cxn modelId="{56B213BF-4CF5-4745-A9F3-142A7388E019}" type="presParOf" srcId="{55918953-A6CF-814A-89F9-551623EBC010}" destId="{448042B3-2CED-424C-815C-8FD3B3AD8A39}" srcOrd="0" destOrd="0" presId="urn:microsoft.com/office/officeart/2008/layout/HorizontalMultiLevelHierarchy"/>
    <dgm:cxn modelId="{292AD0A0-5944-CA47-854B-4AF7BC13F4D2}" type="presParOf" srcId="{55918953-A6CF-814A-89F9-551623EBC010}" destId="{4C59A0B4-1525-104C-AAB2-E79163983336}" srcOrd="1" destOrd="0" presId="urn:microsoft.com/office/officeart/2008/layout/HorizontalMultiLevelHierarchy"/>
    <dgm:cxn modelId="{5949C4C1-5CC3-C44F-A578-AFF1AD2ACF55}" type="presParOf" srcId="{322C5A5A-9E25-6047-BB00-4DF750E135CE}" destId="{64F502CF-3E90-0B4E-886C-91AB3F51938D}" srcOrd="2" destOrd="0" presId="urn:microsoft.com/office/officeart/2008/layout/HorizontalMultiLevelHierarchy"/>
    <dgm:cxn modelId="{8A5D7B0E-98E6-C34F-B90A-8AB7EFB20909}" type="presParOf" srcId="{64F502CF-3E90-0B4E-886C-91AB3F51938D}" destId="{6FA82A28-C585-714B-9AF5-DA995FB3DF53}" srcOrd="0" destOrd="0" presId="urn:microsoft.com/office/officeart/2008/layout/HorizontalMultiLevelHierarchy"/>
    <dgm:cxn modelId="{34594284-09B1-5749-AC38-A5127A7FB0A0}" type="presParOf" srcId="{322C5A5A-9E25-6047-BB00-4DF750E135CE}" destId="{EC8B6A62-9FAE-5045-A1A4-029DC2356DF7}" srcOrd="3" destOrd="0" presId="urn:microsoft.com/office/officeart/2008/layout/HorizontalMultiLevelHierarchy"/>
    <dgm:cxn modelId="{52384663-8BBF-8548-8A7A-825A7E4BF2AA}" type="presParOf" srcId="{EC8B6A62-9FAE-5045-A1A4-029DC2356DF7}" destId="{F9B786D6-8B73-AC47-BEA7-3780A17C3E39}" srcOrd="0" destOrd="0" presId="urn:microsoft.com/office/officeart/2008/layout/HorizontalMultiLevelHierarchy"/>
    <dgm:cxn modelId="{EA54A6F7-3D4F-2046-99CA-B7A8B6ECC6C7}" type="presParOf" srcId="{EC8B6A62-9FAE-5045-A1A4-029DC2356DF7}" destId="{6E27147E-0C63-E041-AB6B-5C0E60851726}" srcOrd="1" destOrd="0" presId="urn:microsoft.com/office/officeart/2008/layout/HorizontalMultiLevelHierarchy"/>
    <dgm:cxn modelId="{2DE05224-B7AF-F94D-B099-6CE0EED2FB77}" type="presParOf" srcId="{598DBB90-9C26-4C4B-AC1C-FF1827BF8D97}" destId="{60914178-E972-6747-98A5-9B1042D21399}" srcOrd="14" destOrd="0" presId="urn:microsoft.com/office/officeart/2008/layout/HorizontalMultiLevelHierarchy"/>
    <dgm:cxn modelId="{71996DEE-7DBF-F845-BC8F-E04EB0B814CE}" type="presParOf" srcId="{60914178-E972-6747-98A5-9B1042D21399}" destId="{03FF4E40-A0E8-E040-A52F-D68379DCC349}" srcOrd="0" destOrd="0" presId="urn:microsoft.com/office/officeart/2008/layout/HorizontalMultiLevelHierarchy"/>
    <dgm:cxn modelId="{628850A5-5667-974F-B151-0E7E4B913067}" type="presParOf" srcId="{598DBB90-9C26-4C4B-AC1C-FF1827BF8D97}" destId="{82D22835-936A-1D4B-AF7A-2D86C6FB8621}" srcOrd="15" destOrd="0" presId="urn:microsoft.com/office/officeart/2008/layout/HorizontalMultiLevelHierarchy"/>
    <dgm:cxn modelId="{C0C204C3-3E24-3045-8497-969265908EFE}" type="presParOf" srcId="{82D22835-936A-1D4B-AF7A-2D86C6FB8621}" destId="{4D444EFA-484D-8B49-B53F-73AE5DAC83CB}" srcOrd="0" destOrd="0" presId="urn:microsoft.com/office/officeart/2008/layout/HorizontalMultiLevelHierarchy"/>
    <dgm:cxn modelId="{0CF6FC2A-E389-8342-9B1D-C53D299A02DB}" type="presParOf" srcId="{82D22835-936A-1D4B-AF7A-2D86C6FB8621}" destId="{780003EA-E55D-2544-948D-2BA68EB5F8A9}" srcOrd="1" destOrd="0" presId="urn:microsoft.com/office/officeart/2008/layout/HorizontalMultiLevelHierarchy"/>
    <dgm:cxn modelId="{2FAECBFE-70F8-2142-A430-E6FDD3583DEB}" type="presParOf" srcId="{598DBB90-9C26-4C4B-AC1C-FF1827BF8D97}" destId="{91975744-72FE-E947-98E3-ECF3B2E7C3DC}" srcOrd="16" destOrd="0" presId="urn:microsoft.com/office/officeart/2008/layout/HorizontalMultiLevelHierarchy"/>
    <dgm:cxn modelId="{3EBA20C0-E2D8-164F-9847-0152747F027F}" type="presParOf" srcId="{91975744-72FE-E947-98E3-ECF3B2E7C3DC}" destId="{7C4C248C-9225-884B-A9F0-E626AEAE24C9}" srcOrd="0" destOrd="0" presId="urn:microsoft.com/office/officeart/2008/layout/HorizontalMultiLevelHierarchy"/>
    <dgm:cxn modelId="{6EED6D85-C04A-C542-8DC6-E68B60EFB002}" type="presParOf" srcId="{598DBB90-9C26-4C4B-AC1C-FF1827BF8D97}" destId="{FD91877E-03C5-8D41-B768-0E4703294F6C}" srcOrd="17" destOrd="0" presId="urn:microsoft.com/office/officeart/2008/layout/HorizontalMultiLevelHierarchy"/>
    <dgm:cxn modelId="{0E6131B0-741C-054C-A11E-ACCBBF0C4192}" type="presParOf" srcId="{FD91877E-03C5-8D41-B768-0E4703294F6C}" destId="{73B69BAE-7567-8E4E-A9B2-D2862F6B978E}" srcOrd="0" destOrd="0" presId="urn:microsoft.com/office/officeart/2008/layout/HorizontalMultiLevelHierarchy"/>
    <dgm:cxn modelId="{B4AA0A5C-39DF-A04A-94F2-B8F9E15D4BE9}" type="presParOf" srcId="{FD91877E-03C5-8D41-B768-0E4703294F6C}" destId="{27C85358-980A-884D-9DDA-63018758070E}" srcOrd="1" destOrd="0" presId="urn:microsoft.com/office/officeart/2008/layout/HorizontalMultiLevelHierarchy"/>
    <dgm:cxn modelId="{21668132-337B-3C4D-B802-83922787E567}" type="presParOf" srcId="{27C85358-980A-884D-9DDA-63018758070E}" destId="{55365CED-83D4-194F-A914-2CFC37CD9B45}" srcOrd="0" destOrd="0" presId="urn:microsoft.com/office/officeart/2008/layout/HorizontalMultiLevelHierarchy"/>
    <dgm:cxn modelId="{30601E8B-0ED6-334D-801F-E88D2BAD6553}" type="presParOf" srcId="{55365CED-83D4-194F-A914-2CFC37CD9B45}" destId="{12E46C15-0F90-7843-8745-7EFB583D5A38}" srcOrd="0" destOrd="0" presId="urn:microsoft.com/office/officeart/2008/layout/HorizontalMultiLevelHierarchy"/>
    <dgm:cxn modelId="{82716CDF-CB20-CB49-9EA2-6EFE4708C0F3}" type="presParOf" srcId="{27C85358-980A-884D-9DDA-63018758070E}" destId="{76889E03-95A4-234A-BE0C-87E6CEF02D37}" srcOrd="1" destOrd="0" presId="urn:microsoft.com/office/officeart/2008/layout/HorizontalMultiLevelHierarchy"/>
    <dgm:cxn modelId="{3F3005B8-7ADD-4647-A9A4-09868AE7A757}" type="presParOf" srcId="{76889E03-95A4-234A-BE0C-87E6CEF02D37}" destId="{21C89BDE-E13D-974B-B17D-6B6CDBB2C8DB}" srcOrd="0" destOrd="0" presId="urn:microsoft.com/office/officeart/2008/layout/HorizontalMultiLevelHierarchy"/>
    <dgm:cxn modelId="{3A8A34DF-2B27-C643-AC7A-FD4FC7341F1A}" type="presParOf" srcId="{76889E03-95A4-234A-BE0C-87E6CEF02D37}" destId="{FB25556A-79E0-D042-8EE4-421CC8CFEFD5}" srcOrd="1" destOrd="0" presId="urn:microsoft.com/office/officeart/2008/layout/HorizontalMultiLevelHierarchy"/>
    <dgm:cxn modelId="{0D60ED09-6B7B-154B-B6D7-BBAAEE4179FA}" type="presParOf" srcId="{27C85358-980A-884D-9DDA-63018758070E}" destId="{2242491C-75CB-654B-ABCA-74AF8E25B4E8}" srcOrd="2" destOrd="0" presId="urn:microsoft.com/office/officeart/2008/layout/HorizontalMultiLevelHierarchy"/>
    <dgm:cxn modelId="{B978E462-35F1-EB41-A200-95916B11C859}" type="presParOf" srcId="{2242491C-75CB-654B-ABCA-74AF8E25B4E8}" destId="{62990B64-CF79-7146-BF7B-48A759C6E310}" srcOrd="0" destOrd="0" presId="urn:microsoft.com/office/officeart/2008/layout/HorizontalMultiLevelHierarchy"/>
    <dgm:cxn modelId="{8B8226E0-CE96-6D4A-80C4-971D811B1724}" type="presParOf" srcId="{27C85358-980A-884D-9DDA-63018758070E}" destId="{34BC8C0B-A669-9B42-82AD-78E158ADEE5B}" srcOrd="3" destOrd="0" presId="urn:microsoft.com/office/officeart/2008/layout/HorizontalMultiLevelHierarchy"/>
    <dgm:cxn modelId="{93682745-EDBC-5C42-8175-041B790D5739}" type="presParOf" srcId="{34BC8C0B-A669-9B42-82AD-78E158ADEE5B}" destId="{84732D04-01E1-2742-A082-1195BCDCDEC2}" srcOrd="0" destOrd="0" presId="urn:microsoft.com/office/officeart/2008/layout/HorizontalMultiLevelHierarchy"/>
    <dgm:cxn modelId="{365E992A-C622-C24E-B8C5-09530B72F0A8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smtClean="0"/>
            <a:t>Book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</a:t>
          </a:r>
          <a:r>
            <a:rPr lang="de-DE" sz="1050" dirty="0" smtClean="0"/>
            <a:t> : </a:t>
          </a:r>
          <a:r>
            <a:rPr lang="de-DE" sz="1050" dirty="0" err="1" smtClean="0"/>
            <a:t>Author</a:t>
          </a:r>
          <a:r>
            <a:rPr lang="de-DE" sz="1050" dirty="0" smtClean="0"/>
            <a:t>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s</a:t>
          </a:r>
          <a:r>
            <a:rPr lang="de-DE" sz="1050" dirty="0" smtClean="0"/>
            <a:t> : Chapter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</a:t>
          </a:r>
          <a:r>
            <a:rPr lang="de-DE" sz="1050" dirty="0" err="1" smtClean="0"/>
            <a:t>Calendar</a:t>
          </a:r>
          <a:r>
            <a:rPr lang="de-DE" sz="1050" dirty="0" smtClean="0"/>
            <a:t> 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78A64519-4827-364C-A275-D5C68A949ADD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C24B2AD7-9651-4B45-A8F4-0314EA8D4874}" type="parTrans" cxnId="{18885F66-416D-544D-A1BB-849A9B5CFAD6}">
      <dgm:prSet custT="1"/>
      <dgm:spPr/>
      <dgm:t>
        <a:bodyPr/>
        <a:lstStyle/>
        <a:p>
          <a:endParaRPr lang="de-DE" sz="100"/>
        </a:p>
      </dgm:t>
    </dgm:pt>
    <dgm:pt modelId="{FE4E6CF6-35F3-9A41-B970-123690A8DFE7}" type="sibTrans" cxnId="{18885F66-416D-544D-A1BB-849A9B5CFAD6}">
      <dgm:prSet/>
      <dgm:spPr/>
      <dgm:t>
        <a:bodyPr/>
        <a:lstStyle/>
        <a:p>
          <a:endParaRPr lang="de-DE"/>
        </a:p>
      </dgm:t>
    </dgm:pt>
    <dgm:pt modelId="{75291F63-6D2A-BA4D-9808-5F545EE4CCF0}" type="asst">
      <dgm:prSet phldrT="[Text]" custT="1"/>
      <dgm:spPr/>
      <dgm:t>
        <a:bodyPr/>
        <a:lstStyle/>
        <a:p>
          <a:r>
            <a:rPr lang="de-DE" sz="1050" dirty="0" err="1" smtClean="0"/>
            <a:t>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436C1B23-A07F-9344-ADAB-98173723FB7F}" type="parTrans" cxnId="{1C571E8A-4788-2E49-9432-8EB83165E0B4}">
      <dgm:prSet custT="1"/>
      <dgm:spPr/>
      <dgm:t>
        <a:bodyPr/>
        <a:lstStyle/>
        <a:p>
          <a:endParaRPr lang="de-DE" sz="100"/>
        </a:p>
      </dgm:t>
    </dgm:pt>
    <dgm:pt modelId="{3CFCFDC5-A30E-E643-B0B7-A3B4B8BFBBB7}" type="sibTrans" cxnId="{1C571E8A-4788-2E49-9432-8EB83165E0B4}">
      <dgm:prSet/>
      <dgm:spPr/>
      <dgm:t>
        <a:bodyPr/>
        <a:lstStyle/>
        <a:p>
          <a:endParaRPr lang="de-DE"/>
        </a:p>
      </dgm:t>
    </dgm:pt>
    <dgm:pt modelId="{859769CA-042B-6244-840F-75AE1403619A}" type="asst">
      <dgm:prSet phldrT="[Text]" custT="1"/>
      <dgm:spPr/>
      <dgm:t>
        <a:bodyPr/>
        <a:lstStyle/>
        <a:p>
          <a:r>
            <a:rPr lang="de-DE" sz="1050" dirty="0" err="1" smtClean="0"/>
            <a:t>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E543121D-95F7-3E47-B964-B7B948211EBC}" type="parTrans" cxnId="{D103F18D-4EDB-DE49-AEFE-555203D61B78}">
      <dgm:prSet custT="1"/>
      <dgm:spPr/>
      <dgm:t>
        <a:bodyPr/>
        <a:lstStyle/>
        <a:p>
          <a:endParaRPr lang="de-DE" sz="100"/>
        </a:p>
      </dgm:t>
    </dgm:pt>
    <dgm:pt modelId="{19656C7A-9CE4-D94E-BD87-272B3A0A1051}" type="sibTrans" cxnId="{D103F18D-4EDB-DE49-AEFE-555203D61B78}">
      <dgm:prSet/>
      <dgm:spPr/>
      <dgm:t>
        <a:bodyPr/>
        <a:lstStyle/>
        <a:p>
          <a:endParaRPr lang="de-DE"/>
        </a:p>
      </dgm:t>
    </dgm:pt>
    <dgm:pt modelId="{B64CCDD1-81AB-5245-B99A-E87DB05674D4}" type="asst">
      <dgm:prSet phldrT="[Text]" custT="1"/>
      <dgm:spPr/>
      <dgm:t>
        <a:bodyPr/>
        <a:lstStyle/>
        <a:p>
          <a:r>
            <a:rPr lang="de-DE" sz="1050" dirty="0" err="1" smtClean="0"/>
            <a:t>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8BC59F7D-94BF-3B43-BF5D-5485F4809DAD}" type="parTrans" cxnId="{B271BA9D-F30B-324B-ACBA-39305E77D7A5}">
      <dgm:prSet custT="1"/>
      <dgm:spPr/>
      <dgm:t>
        <a:bodyPr/>
        <a:lstStyle/>
        <a:p>
          <a:endParaRPr lang="de-DE" sz="100"/>
        </a:p>
      </dgm:t>
    </dgm:pt>
    <dgm:pt modelId="{FE4DCE9D-0310-E148-BD6E-B7521D30932D}" type="sibTrans" cxnId="{B271BA9D-F30B-324B-ACBA-39305E77D7A5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 custScaleX="77067" custScaleY="85310" custLinFactNeighborY="9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6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6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6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6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B541F6A1-B2AA-7447-8E11-AC7AA5D5D50B}" type="pres">
      <dgm:prSet presAssocID="{436C1B23-A07F-9344-ADAB-98173723FB7F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0637CC4E-4D30-724B-9FFD-C7AED88FB068}" type="pres">
      <dgm:prSet presAssocID="{436C1B23-A07F-9344-ADAB-98173723FB7F}" presName="connTx" presStyleLbl="parChTrans1D3" presStyleIdx="0" presStyleCnt="6"/>
      <dgm:spPr/>
      <dgm:t>
        <a:bodyPr/>
        <a:lstStyle/>
        <a:p>
          <a:endParaRPr lang="de-DE"/>
        </a:p>
      </dgm:t>
    </dgm:pt>
    <dgm:pt modelId="{CA3C244E-E149-0742-ACEF-44B7ECE83631}" type="pres">
      <dgm:prSet presAssocID="{75291F63-6D2A-BA4D-9808-5F545EE4CCF0}" presName="root2" presStyleCnt="0"/>
      <dgm:spPr/>
    </dgm:pt>
    <dgm:pt modelId="{9FB8B136-71A7-D34F-B7EB-BD8FC5C96ECE}" type="pres">
      <dgm:prSet presAssocID="{75291F63-6D2A-BA4D-9808-5F545EE4CCF0}" presName="LevelTwoTextNode" presStyleLbl="asst1" presStyleIdx="2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B46DB51-FCC5-AC41-BECD-E28037B564D0}" type="pres">
      <dgm:prSet presAssocID="{75291F63-6D2A-BA4D-9808-5F545EE4CCF0}" presName="level3hierChild" presStyleCnt="0"/>
      <dgm:spPr/>
    </dgm:pt>
    <dgm:pt modelId="{2C1F9B08-4495-8146-8974-2654E99B2E9A}" type="pres">
      <dgm:prSet presAssocID="{E543121D-95F7-3E47-B964-B7B948211EBC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C9D429FE-9539-9D4A-9750-F9C781598EC4}" type="pres">
      <dgm:prSet presAssocID="{E543121D-95F7-3E47-B964-B7B948211EBC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F107BC0-209A-4C42-BEA6-B6817D5C9E09}" type="pres">
      <dgm:prSet presAssocID="{859769CA-042B-6244-840F-75AE1403619A}" presName="root2" presStyleCnt="0"/>
      <dgm:spPr/>
    </dgm:pt>
    <dgm:pt modelId="{4E546A01-1907-BB4F-B534-4E81DE6081F4}" type="pres">
      <dgm:prSet presAssocID="{859769CA-042B-6244-840F-75AE1403619A}" presName="LevelTwoTextNode" presStyleLbl="asst1" presStyleIdx="3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393339-32D0-CE4B-9AAA-4B6A114FA39A}" type="pres">
      <dgm:prSet presAssocID="{859769CA-042B-6244-840F-75AE1403619A}" presName="level3hierChild" presStyleCnt="0"/>
      <dgm:spPr/>
    </dgm:pt>
    <dgm:pt modelId="{6D977B4C-E88D-6044-A647-A6CC29747BE1}" type="pres">
      <dgm:prSet presAssocID="{8BC59F7D-94BF-3B43-BF5D-5485F4809DAD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756F0DD8-11FC-8647-8FC8-7AAB634C5717}" type="pres">
      <dgm:prSet presAssocID="{8BC59F7D-94BF-3B43-BF5D-5485F4809DAD}" presName="connTx" presStyleLbl="parChTrans1D3" presStyleIdx="2" presStyleCnt="6"/>
      <dgm:spPr/>
      <dgm:t>
        <a:bodyPr/>
        <a:lstStyle/>
        <a:p>
          <a:endParaRPr lang="de-DE"/>
        </a:p>
      </dgm:t>
    </dgm:pt>
    <dgm:pt modelId="{BAA197B9-40F5-1D46-A384-973DDEA5160C}" type="pres">
      <dgm:prSet presAssocID="{B64CCDD1-81AB-5245-B99A-E87DB05674D4}" presName="root2" presStyleCnt="0"/>
      <dgm:spPr/>
    </dgm:pt>
    <dgm:pt modelId="{3C43B809-8F2F-3641-8339-1043D47661D7}" type="pres">
      <dgm:prSet presAssocID="{B64CCDD1-81AB-5245-B99A-E87DB05674D4}" presName="LevelTwoTextNode" presStyleLbl="asst1" presStyleIdx="4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59926D0-D2AF-8940-B86B-A1820706A34B}" type="pres">
      <dgm:prSet presAssocID="{B64CCDD1-81AB-5245-B99A-E87DB05674D4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2" presStyleCnt="6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2" presStyleCnt="6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5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3" presStyleCnt="6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3" presStyleCnt="6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6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8AD8F429-D3CB-F748-A62E-81D3E0DD1FE1}" type="pres">
      <dgm:prSet presAssocID="{C24B2AD7-9651-4B45-A8F4-0314EA8D4874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27DD3461-0240-774A-8774-CC1A00541B61}" type="pres">
      <dgm:prSet presAssocID="{C24B2AD7-9651-4B45-A8F4-0314EA8D4874}" presName="connTx" presStyleLbl="parChTrans1D3" presStyleIdx="3" presStyleCnt="6"/>
      <dgm:spPr/>
      <dgm:t>
        <a:bodyPr/>
        <a:lstStyle/>
        <a:p>
          <a:endParaRPr lang="de-DE"/>
        </a:p>
      </dgm:t>
    </dgm:pt>
    <dgm:pt modelId="{11FBA7F4-3D95-3448-9648-3CEA03AB03A5}" type="pres">
      <dgm:prSet presAssocID="{78A64519-4827-364C-A275-D5C68A949ADD}" presName="root2" presStyleCnt="0"/>
      <dgm:spPr/>
    </dgm:pt>
    <dgm:pt modelId="{33CE7315-72E8-4545-9EC6-56F4D0BEC64D}" type="pres">
      <dgm:prSet presAssocID="{78A64519-4827-364C-A275-D5C68A949ADD}" presName="LevelTwoTextNode" presStyleLbl="asst1" presStyleIdx="7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94ACA84-3A4A-0541-929E-9401CD7FB410}" type="pres">
      <dgm:prSet presAssocID="{78A64519-4827-364C-A275-D5C68A949ADD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4" presStyleCnt="6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4" presStyleCnt="6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8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4" presStyleCnt="6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9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5" presStyleCnt="6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10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5" presStyleCnt="6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5" presStyleCnt="6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11" presStyleCnt="12" custScaleX="86958" custScaleY="9398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</dgm:ptLst>
  <dgm:cxnLst>
    <dgm:cxn modelId="{752BA7F1-F0ED-C842-9B80-86EBD9ACB351}" type="presOf" srcId="{436C1B23-A07F-9344-ADAB-98173723FB7F}" destId="{B541F6A1-B2AA-7447-8E11-AC7AA5D5D50B}" srcOrd="0" destOrd="0" presId="urn:microsoft.com/office/officeart/2008/layout/HorizontalMultiLevelHierarchy"/>
    <dgm:cxn modelId="{35A3C487-7BE8-F849-B638-7D2D82C0BBE1}" type="presOf" srcId="{B64CCDD1-81AB-5245-B99A-E87DB05674D4}" destId="{3C43B809-8F2F-3641-8339-1043D47661D7}" srcOrd="0" destOrd="0" presId="urn:microsoft.com/office/officeart/2008/layout/HorizontalMultiLevelHierarchy"/>
    <dgm:cxn modelId="{0548B78D-991D-9647-920B-6EFE03CC7CDE}" type="presOf" srcId="{C0976C3D-B466-7D45-ABFB-2E3685B2F19C}" destId="{D35EA19E-870C-2F44-A620-E6B51FB20589}" srcOrd="0" destOrd="0" presId="urn:microsoft.com/office/officeart/2008/layout/HorizontalMultiLevelHierarchy"/>
    <dgm:cxn modelId="{E4D75E79-AB55-394A-A447-1092DC971A8C}" type="presOf" srcId="{63D1AE09-4F57-A443-A1FD-2A3034962097}" destId="{04D949B2-6FA5-4948-B335-DDA85E4E65B1}" srcOrd="1" destOrd="0" presId="urn:microsoft.com/office/officeart/2008/layout/HorizontalMultiLevelHierarchy"/>
    <dgm:cxn modelId="{14192E92-77BF-AB43-9BAB-8F258AF80D8A}" type="presOf" srcId="{5ADEDBF8-717E-F946-B11E-4CC50D9988C8}" destId="{AB33012A-8C54-6245-96E8-E0111C081E33}" srcOrd="1" destOrd="0" presId="urn:microsoft.com/office/officeart/2008/layout/HorizontalMultiLevelHierarchy"/>
    <dgm:cxn modelId="{EA34CD41-8BC0-D343-9F67-8462579FF096}" srcId="{BA9C693C-1CF5-6E4E-A8C4-1E304AFD6DF5}" destId="{174F7A28-653D-6F45-9860-935E35504EE1}" srcOrd="5" destOrd="0" parTransId="{9EB1846C-ABB5-9E44-B030-7BE73C498E59}" sibTransId="{4E443D9B-DAB1-E84F-898A-5389BC17C659}"/>
    <dgm:cxn modelId="{D358D24D-E0C7-C545-9A1D-518D87623383}" type="presOf" srcId="{5E2A7D5A-EFB6-9C4F-A960-3D6903C39497}" destId="{E59B7B1E-3287-FB43-A405-2A84667315EC}" srcOrd="1" destOrd="0" presId="urn:microsoft.com/office/officeart/2008/layout/HorizontalMultiLevelHierarchy"/>
    <dgm:cxn modelId="{8E8C0CE1-70DF-EF4D-A602-6E1433F2E4C3}" type="presOf" srcId="{9EB1846C-ABB5-9E44-B030-7BE73C498E59}" destId="{03FF4E40-A0E8-E040-A52F-D68379DCC349}" srcOrd="1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C0E6DCAF-2686-8A4C-B2FF-963DD3CE4683}" type="presOf" srcId="{7E0C02E8-17C2-874D-B6DE-8E3A1D3437C9}" destId="{448042B3-2CED-424C-815C-8FD3B3AD8A39}" srcOrd="0" destOrd="0" presId="urn:microsoft.com/office/officeart/2008/layout/HorizontalMultiLevelHierarchy"/>
    <dgm:cxn modelId="{82646D2E-7D41-1B42-9DC8-3F04C8F9BC36}" type="presOf" srcId="{8BC59F7D-94BF-3B43-BF5D-5485F4809DAD}" destId="{756F0DD8-11FC-8647-8FC8-7AAB634C5717}" srcOrd="1" destOrd="0" presId="urn:microsoft.com/office/officeart/2008/layout/HorizontalMultiLevelHierarchy"/>
    <dgm:cxn modelId="{D103F18D-4EDB-DE49-AEFE-555203D61B78}" srcId="{C0976C3D-B466-7D45-ABFB-2E3685B2F19C}" destId="{859769CA-042B-6244-840F-75AE1403619A}" srcOrd="1" destOrd="0" parTransId="{E543121D-95F7-3E47-B964-B7B948211EBC}" sibTransId="{19656C7A-9CE4-D94E-BD87-272B3A0A1051}"/>
    <dgm:cxn modelId="{9F67B1FA-E8EC-F641-9F64-5CD0F7A15506}" type="presOf" srcId="{BBD19103-9913-2A49-AB85-F021773D5328}" destId="{64F502CF-3E90-0B4E-886C-91AB3F51938D}" srcOrd="0" destOrd="0" presId="urn:microsoft.com/office/officeart/2008/layout/HorizontalMultiLevelHierarchy"/>
    <dgm:cxn modelId="{2C38EE7A-658E-344D-9C76-37024FF8A151}" type="presOf" srcId="{E543121D-95F7-3E47-B964-B7B948211EBC}" destId="{2C1F9B08-4495-8146-8974-2654E99B2E9A}" srcOrd="0" destOrd="0" presId="urn:microsoft.com/office/officeart/2008/layout/HorizontalMultiLevelHierarchy"/>
    <dgm:cxn modelId="{98E7E8DE-FC24-0A4A-BA5B-FEC9782E0BBF}" type="presOf" srcId="{78A64519-4827-364C-A275-D5C68A949ADD}" destId="{33CE7315-72E8-4545-9EC6-56F4D0BEC64D}" srcOrd="0" destOrd="0" presId="urn:microsoft.com/office/officeart/2008/layout/HorizontalMultiLevelHierarchy"/>
    <dgm:cxn modelId="{2D61F9BB-8233-EE48-B46D-B8DDA9E7540A}" srcId="{BA9C693C-1CF5-6E4E-A8C4-1E304AFD6DF5}" destId="{990267CF-EA89-A240-9514-9AFC12BBADEE}" srcOrd="4" destOrd="0" parTransId="{134C8002-4160-B046-917F-B9172D6D011E}" sibTransId="{C53420FF-ECD5-E44D-9507-00368A34154B}"/>
    <dgm:cxn modelId="{566B6CAB-724E-6345-9CF9-C975FD950528}" type="presOf" srcId="{174F7A28-653D-6F45-9860-935E35504EE1}" destId="{4D444EFA-484D-8B49-B53F-73AE5DAC83CB}" srcOrd="0" destOrd="0" presId="urn:microsoft.com/office/officeart/2008/layout/HorizontalMultiLevelHierarchy"/>
    <dgm:cxn modelId="{C07BC00E-79FA-DB4D-9B29-59208775ED18}" type="presOf" srcId="{08733529-A5F0-F14D-8E75-74214329B040}" destId="{393A7F55-569D-7A48-ACE0-063418018375}" srcOrd="0" destOrd="0" presId="urn:microsoft.com/office/officeart/2008/layout/HorizontalMultiLevelHierarchy"/>
    <dgm:cxn modelId="{B02E91A7-D2DC-4147-B1B7-98DC3B864A0B}" type="presOf" srcId="{08733529-A5F0-F14D-8E75-74214329B040}" destId="{A635BF91-C219-EB46-A0CA-F8A2CE3D7BF3}" srcOrd="1" destOrd="0" presId="urn:microsoft.com/office/officeart/2008/layout/HorizontalMultiLevelHierarchy"/>
    <dgm:cxn modelId="{2D3EB9C0-53E9-C349-847F-351DEDFC30D7}" type="presOf" srcId="{EF2BFDE9-4D1F-3049-B62C-65BE59459C50}" destId="{5167760A-1265-4C43-B02A-4A72B3B39F5E}" srcOrd="0" destOrd="0" presId="urn:microsoft.com/office/officeart/2008/layout/HorizontalMultiLevelHierarchy"/>
    <dgm:cxn modelId="{C6BCD376-4586-0140-9061-B17FA1EC1CFE}" type="presOf" srcId="{6577C284-4D20-2C4A-88D4-29EB6FEAC9C2}" destId="{A3F719CD-4C36-CF49-B90F-B8B40A2B29DE}" srcOrd="0" destOrd="0" presId="urn:microsoft.com/office/officeart/2008/layout/HorizontalMultiLevelHierarchy"/>
    <dgm:cxn modelId="{5A337649-7FE6-8840-85DE-0D255D72E99D}" type="presOf" srcId="{488E1B12-EE7C-9246-8169-00D4E05307C4}" destId="{5E781A07-1968-A143-88EC-827822313B55}" srcOrd="0" destOrd="0" presId="urn:microsoft.com/office/officeart/2008/layout/HorizontalMultiLevelHierarchy"/>
    <dgm:cxn modelId="{39A0334F-4841-3649-83E8-F33D2E19820F}" srcId="{BA9C693C-1CF5-6E4E-A8C4-1E304AFD6DF5}" destId="{EF2BFDE9-4D1F-3049-B62C-65BE59459C50}" srcOrd="2" destOrd="0" parTransId="{5E2A7D5A-EFB6-9C4F-A960-3D6903C39497}" sibTransId="{273B8D74-18E2-564C-8FAB-91D7E0D3BAAF}"/>
    <dgm:cxn modelId="{B271BA9D-F30B-324B-ACBA-39305E77D7A5}" srcId="{C0976C3D-B466-7D45-ABFB-2E3685B2F19C}" destId="{B64CCDD1-81AB-5245-B99A-E87DB05674D4}" srcOrd="2" destOrd="0" parTransId="{8BC59F7D-94BF-3B43-BF5D-5485F4809DAD}" sibTransId="{FE4DCE9D-0310-E148-BD6E-B7521D30932D}"/>
    <dgm:cxn modelId="{94E8E6F1-EFA1-514D-A156-4CDC262416E9}" type="presOf" srcId="{5ADEDBF8-717E-F946-B11E-4CC50D9988C8}" destId="{D778007E-9974-2C41-910F-E1E5562B090A}" srcOrd="0" destOrd="0" presId="urn:microsoft.com/office/officeart/2008/layout/HorizontalMultiLevelHierarchy"/>
    <dgm:cxn modelId="{02FB9DB7-8CAD-1340-8601-F9B2080E6569}" type="presOf" srcId="{859769CA-042B-6244-840F-75AE1403619A}" destId="{4E546A01-1907-BB4F-B534-4E81DE6081F4}" srcOrd="0" destOrd="0" presId="urn:microsoft.com/office/officeart/2008/layout/HorizontalMultiLevelHierarchy"/>
    <dgm:cxn modelId="{A656EBA3-2E9D-7340-8060-F8ACF9FF1201}" type="presOf" srcId="{9EB1846C-ABB5-9E44-B030-7BE73C498E59}" destId="{60914178-E972-6747-98A5-9B1042D21399}" srcOrd="0" destOrd="0" presId="urn:microsoft.com/office/officeart/2008/layout/HorizontalMultiLevelHierarchy"/>
    <dgm:cxn modelId="{387D6DB1-B109-9A44-8B1E-859AC1194474}" type="presOf" srcId="{BBD19103-9913-2A49-AB85-F021773D5328}" destId="{6FA82A28-C585-714B-9AF5-DA995FB3DF53}" srcOrd="1" destOrd="0" presId="urn:microsoft.com/office/officeart/2008/layout/HorizontalMultiLevelHierarchy"/>
    <dgm:cxn modelId="{0866B5B2-3B7E-FC47-9171-D971599F7080}" type="presOf" srcId="{75291F63-6D2A-BA4D-9808-5F545EE4CCF0}" destId="{9FB8B136-71A7-D34F-B7EB-BD8FC5C96ECE}" srcOrd="0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0C5B261F-B5AF-5E4B-A37F-122DDFFAAD9E}" type="presOf" srcId="{0726F871-37F4-AB40-AF73-6656D7E9C85D}" destId="{613226CB-11A4-C549-82A6-64B9BCFE1002}" srcOrd="0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8CC1AA14-B164-7845-98D3-6951388A0597}" type="presOf" srcId="{990267CF-EA89-A240-9514-9AFC12BBADEE}" destId="{03DEAF18-EC72-C047-A9B4-C65BE189F02C}" srcOrd="0" destOrd="0" presId="urn:microsoft.com/office/officeart/2008/layout/HorizontalMultiLevelHierarchy"/>
    <dgm:cxn modelId="{AB008B15-6008-0340-9DAD-07228F8C30B0}" type="presOf" srcId="{B8771036-12B2-D843-AA17-BB631BA3F87D}" destId="{F9B786D6-8B73-AC47-BEA7-3780A17C3E39}" srcOrd="0" destOrd="0" presId="urn:microsoft.com/office/officeart/2008/layout/HorizontalMultiLevelHierarchy"/>
    <dgm:cxn modelId="{5FF0676A-EDB0-E643-A49A-53E8DA8A4A2A}" type="presOf" srcId="{436C1B23-A07F-9344-ADAB-98173723FB7F}" destId="{0637CC4E-4D30-724B-9FFD-C7AED88FB068}" srcOrd="1" destOrd="0" presId="urn:microsoft.com/office/officeart/2008/layout/HorizontalMultiLevelHierarchy"/>
    <dgm:cxn modelId="{0AD2812F-7045-F24F-B8E7-22CA3E7BB9AC}" type="presOf" srcId="{63D1AE09-4F57-A443-A1FD-2A3034962097}" destId="{B7A5E06F-5B4B-C947-BFA6-C1FA5998CE54}" srcOrd="0" destOrd="0" presId="urn:microsoft.com/office/officeart/2008/layout/HorizontalMultiLevelHierarchy"/>
    <dgm:cxn modelId="{498C65A6-0CBC-784B-9DD0-1120B5C85967}" type="presOf" srcId="{26144DC7-9794-3E4B-BF8F-331E25884D5F}" destId="{921A596F-4B37-494E-B07C-17FD734C6406}" srcOrd="0" destOrd="0" presId="urn:microsoft.com/office/officeart/2008/layout/HorizontalMultiLevelHierarchy"/>
    <dgm:cxn modelId="{0A12B1E0-03E8-3143-B9D6-1D92C7B08B24}" type="presOf" srcId="{C24B2AD7-9651-4B45-A8F4-0314EA8D4874}" destId="{27DD3461-0240-774A-8774-CC1A00541B61}" srcOrd="1" destOrd="0" presId="urn:microsoft.com/office/officeart/2008/layout/HorizontalMultiLevelHierarchy"/>
    <dgm:cxn modelId="{BB1266E0-CFE5-1F4E-999A-5590071E1A56}" type="presOf" srcId="{E543121D-95F7-3E47-B964-B7B948211EBC}" destId="{C9D429FE-9539-9D4A-9750-F9C781598EC4}" srcOrd="1" destOrd="0" presId="urn:microsoft.com/office/officeart/2008/layout/HorizontalMultiLevelHierarchy"/>
    <dgm:cxn modelId="{30C145DD-0498-3F46-9924-C031D1214781}" type="presOf" srcId="{134C8002-4160-B046-917F-B9172D6D011E}" destId="{33DDFCA5-CC66-CC45-A430-EDF4DA53BA93}" srcOrd="0" destOrd="0" presId="urn:microsoft.com/office/officeart/2008/layout/HorizontalMultiLevelHierarchy"/>
    <dgm:cxn modelId="{75F3ADEB-8BB5-A944-A6B8-C0BFA97DE6D4}" type="presOf" srcId="{134C8002-4160-B046-917F-B9172D6D011E}" destId="{569810E7-365A-FB48-A979-23DA3465EF4F}" srcOrd="1" destOrd="0" presId="urn:microsoft.com/office/officeart/2008/layout/HorizontalMultiLevelHierarchy"/>
    <dgm:cxn modelId="{2134F032-AB82-9F45-9793-C5E9735EBFAC}" type="presOf" srcId="{C24B2AD7-9651-4B45-A8F4-0314EA8D4874}" destId="{8AD8F429-D3CB-F748-A62E-81D3E0DD1FE1}" srcOrd="0" destOrd="0" presId="urn:microsoft.com/office/officeart/2008/layout/HorizontalMultiLevelHierarchy"/>
    <dgm:cxn modelId="{421F5389-9EB3-6445-9F9C-E33959322CFA}" type="presOf" srcId="{6577C284-4D20-2C4A-88D4-29EB6FEAC9C2}" destId="{348A166D-A55E-9147-99A1-FB87A4CF61A8}" srcOrd="1" destOrd="0" presId="urn:microsoft.com/office/officeart/2008/layout/HorizontalMultiLevelHierarchy"/>
    <dgm:cxn modelId="{1C571E8A-4788-2E49-9432-8EB83165E0B4}" srcId="{C0976C3D-B466-7D45-ABFB-2E3685B2F19C}" destId="{75291F63-6D2A-BA4D-9808-5F545EE4CCF0}" srcOrd="0" destOrd="0" parTransId="{436C1B23-A07F-9344-ADAB-98173723FB7F}" sibTransId="{3CFCFDC5-A30E-E643-B0B7-A3B4B8BFBBB7}"/>
    <dgm:cxn modelId="{18885F66-416D-544D-A1BB-849A9B5CFAD6}" srcId="{26144DC7-9794-3E4B-BF8F-331E25884D5F}" destId="{78A64519-4827-364C-A275-D5C68A949ADD}" srcOrd="0" destOrd="0" parTransId="{C24B2AD7-9651-4B45-A8F4-0314EA8D4874}" sibTransId="{FE4E6CF6-35F3-9A41-B970-123690A8DFE7}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DCA983F7-3B11-5D43-85CE-10985E26CD24}" type="presOf" srcId="{8BC59F7D-94BF-3B43-BF5D-5485F4809DAD}" destId="{6D977B4C-E88D-6044-A647-A6CC29747BE1}" srcOrd="0" destOrd="0" presId="urn:microsoft.com/office/officeart/2008/layout/HorizontalMultiLevelHierarchy"/>
    <dgm:cxn modelId="{71F16FD7-C5B2-C64C-95DC-9835B373E50D}" type="presOf" srcId="{5E2A7D5A-EFB6-9C4F-A960-3D6903C39497}" destId="{1442578F-E924-E34F-9FA5-3F4C2CF65BC9}" srcOrd="0" destOrd="0" presId="urn:microsoft.com/office/officeart/2008/layout/HorizontalMultiLevelHierarchy"/>
    <dgm:cxn modelId="{8EADE03F-FD19-8943-9641-8EDB79BA1F44}" srcId="{BA9C693C-1CF5-6E4E-A8C4-1E304AFD6DF5}" destId="{26144DC7-9794-3E4B-BF8F-331E25884D5F}" srcOrd="3" destOrd="0" parTransId="{6577C284-4D20-2C4A-88D4-29EB6FEAC9C2}" sibTransId="{107CD2D0-7A83-A340-A318-AE06C14E2999}"/>
    <dgm:cxn modelId="{8FBD4303-7BA8-DB46-A49B-212D5C5986B4}" type="presOf" srcId="{BA9C693C-1CF5-6E4E-A8C4-1E304AFD6DF5}" destId="{99E936FD-8649-9640-96D2-9202E1CEC417}" srcOrd="0" destOrd="0" presId="urn:microsoft.com/office/officeart/2008/layout/HorizontalMultiLevelHierarchy"/>
    <dgm:cxn modelId="{E5E7C0E3-32D6-A74A-B8FC-F6D37A816B4A}" type="presParOf" srcId="{613226CB-11A4-C549-82A6-64B9BCFE1002}" destId="{3BA40406-1E55-1642-A22A-B49F5A173AC8}" srcOrd="0" destOrd="0" presId="urn:microsoft.com/office/officeart/2008/layout/HorizontalMultiLevelHierarchy"/>
    <dgm:cxn modelId="{C468F71D-0BAF-BA40-A3F5-FFBDD27B2CC5}" type="presParOf" srcId="{3BA40406-1E55-1642-A22A-B49F5A173AC8}" destId="{99E936FD-8649-9640-96D2-9202E1CEC417}" srcOrd="0" destOrd="0" presId="urn:microsoft.com/office/officeart/2008/layout/HorizontalMultiLevelHierarchy"/>
    <dgm:cxn modelId="{B2B75DD9-409E-C745-8625-575AD0E6A53F}" type="presParOf" srcId="{3BA40406-1E55-1642-A22A-B49F5A173AC8}" destId="{598DBB90-9C26-4C4B-AC1C-FF1827BF8D97}" srcOrd="1" destOrd="0" presId="urn:microsoft.com/office/officeart/2008/layout/HorizontalMultiLevelHierarchy"/>
    <dgm:cxn modelId="{75A5FCD5-ECD3-A442-AA55-606981E6D34C}" type="presParOf" srcId="{598DBB90-9C26-4C4B-AC1C-FF1827BF8D97}" destId="{D778007E-9974-2C41-910F-E1E5562B090A}" srcOrd="0" destOrd="0" presId="urn:microsoft.com/office/officeart/2008/layout/HorizontalMultiLevelHierarchy"/>
    <dgm:cxn modelId="{14CAE5E4-F177-E448-8670-AA028E3D68A7}" type="presParOf" srcId="{D778007E-9974-2C41-910F-E1E5562B090A}" destId="{AB33012A-8C54-6245-96E8-E0111C081E33}" srcOrd="0" destOrd="0" presId="urn:microsoft.com/office/officeart/2008/layout/HorizontalMultiLevelHierarchy"/>
    <dgm:cxn modelId="{792E33A0-E265-9F46-BD2B-79739D373911}" type="presParOf" srcId="{598DBB90-9C26-4C4B-AC1C-FF1827BF8D97}" destId="{BCA6FE17-8DB6-0242-A6E4-C7D3971EBD97}" srcOrd="1" destOrd="0" presId="urn:microsoft.com/office/officeart/2008/layout/HorizontalMultiLevelHierarchy"/>
    <dgm:cxn modelId="{129FE641-E1D0-7F43-A410-BC16811008D6}" type="presParOf" srcId="{BCA6FE17-8DB6-0242-A6E4-C7D3971EBD97}" destId="{5E781A07-1968-A143-88EC-827822313B55}" srcOrd="0" destOrd="0" presId="urn:microsoft.com/office/officeart/2008/layout/HorizontalMultiLevelHierarchy"/>
    <dgm:cxn modelId="{9720CD6D-6A88-1F4C-8595-8A1165E35DDE}" type="presParOf" srcId="{BCA6FE17-8DB6-0242-A6E4-C7D3971EBD97}" destId="{BDDED42C-20CE-EF4E-85AA-7830E9428B23}" srcOrd="1" destOrd="0" presId="urn:microsoft.com/office/officeart/2008/layout/HorizontalMultiLevelHierarchy"/>
    <dgm:cxn modelId="{78FB8752-F4AE-AF4A-AB94-325F48ECA2B0}" type="presParOf" srcId="{598DBB90-9C26-4C4B-AC1C-FF1827BF8D97}" destId="{B7A5E06F-5B4B-C947-BFA6-C1FA5998CE54}" srcOrd="2" destOrd="0" presId="urn:microsoft.com/office/officeart/2008/layout/HorizontalMultiLevelHierarchy"/>
    <dgm:cxn modelId="{08EC68DF-CD0F-1D45-8D74-FDA4A37EB987}" type="presParOf" srcId="{B7A5E06F-5B4B-C947-BFA6-C1FA5998CE54}" destId="{04D949B2-6FA5-4948-B335-DDA85E4E65B1}" srcOrd="0" destOrd="0" presId="urn:microsoft.com/office/officeart/2008/layout/HorizontalMultiLevelHierarchy"/>
    <dgm:cxn modelId="{14944ADF-3C41-9147-BE25-6AB32710E3F3}" type="presParOf" srcId="{598DBB90-9C26-4C4B-AC1C-FF1827BF8D97}" destId="{5B0B9041-BDB4-7141-9957-0BEAFB33AEFE}" srcOrd="3" destOrd="0" presId="urn:microsoft.com/office/officeart/2008/layout/HorizontalMultiLevelHierarchy"/>
    <dgm:cxn modelId="{A3F71736-7F2B-AB48-8B8A-0267070A6CB8}" type="presParOf" srcId="{5B0B9041-BDB4-7141-9957-0BEAFB33AEFE}" destId="{D35EA19E-870C-2F44-A620-E6B51FB20589}" srcOrd="0" destOrd="0" presId="urn:microsoft.com/office/officeart/2008/layout/HorizontalMultiLevelHierarchy"/>
    <dgm:cxn modelId="{6B733822-93BB-5441-879D-F4ABE79A5A46}" type="presParOf" srcId="{5B0B9041-BDB4-7141-9957-0BEAFB33AEFE}" destId="{62348515-9687-1045-ADA1-3184EC8CEC61}" srcOrd="1" destOrd="0" presId="urn:microsoft.com/office/officeart/2008/layout/HorizontalMultiLevelHierarchy"/>
    <dgm:cxn modelId="{B2BB9591-5E84-E04A-9788-F313110C6188}" type="presParOf" srcId="{62348515-9687-1045-ADA1-3184EC8CEC61}" destId="{B541F6A1-B2AA-7447-8E11-AC7AA5D5D50B}" srcOrd="0" destOrd="0" presId="urn:microsoft.com/office/officeart/2008/layout/HorizontalMultiLevelHierarchy"/>
    <dgm:cxn modelId="{611D7176-30D1-FE49-B512-D2B87F98CE88}" type="presParOf" srcId="{B541F6A1-B2AA-7447-8E11-AC7AA5D5D50B}" destId="{0637CC4E-4D30-724B-9FFD-C7AED88FB068}" srcOrd="0" destOrd="0" presId="urn:microsoft.com/office/officeart/2008/layout/HorizontalMultiLevelHierarchy"/>
    <dgm:cxn modelId="{F2421166-CDAC-434D-B6D7-F837CDD9BE7C}" type="presParOf" srcId="{62348515-9687-1045-ADA1-3184EC8CEC61}" destId="{CA3C244E-E149-0742-ACEF-44B7ECE83631}" srcOrd="1" destOrd="0" presId="urn:microsoft.com/office/officeart/2008/layout/HorizontalMultiLevelHierarchy"/>
    <dgm:cxn modelId="{9ACCCD59-C0BF-EF44-A974-F303C75C7BF1}" type="presParOf" srcId="{CA3C244E-E149-0742-ACEF-44B7ECE83631}" destId="{9FB8B136-71A7-D34F-B7EB-BD8FC5C96ECE}" srcOrd="0" destOrd="0" presId="urn:microsoft.com/office/officeart/2008/layout/HorizontalMultiLevelHierarchy"/>
    <dgm:cxn modelId="{F2FA95D9-3913-1B49-A8D1-DBCB09323047}" type="presParOf" srcId="{CA3C244E-E149-0742-ACEF-44B7ECE83631}" destId="{9B46DB51-FCC5-AC41-BECD-E28037B564D0}" srcOrd="1" destOrd="0" presId="urn:microsoft.com/office/officeart/2008/layout/HorizontalMultiLevelHierarchy"/>
    <dgm:cxn modelId="{6CA7FDD4-CD06-A946-AE70-2AF55F2BE29B}" type="presParOf" srcId="{62348515-9687-1045-ADA1-3184EC8CEC61}" destId="{2C1F9B08-4495-8146-8974-2654E99B2E9A}" srcOrd="2" destOrd="0" presId="urn:microsoft.com/office/officeart/2008/layout/HorizontalMultiLevelHierarchy"/>
    <dgm:cxn modelId="{231D4F62-978F-C24A-B035-72A3B4B4E66D}" type="presParOf" srcId="{2C1F9B08-4495-8146-8974-2654E99B2E9A}" destId="{C9D429FE-9539-9D4A-9750-F9C781598EC4}" srcOrd="0" destOrd="0" presId="urn:microsoft.com/office/officeart/2008/layout/HorizontalMultiLevelHierarchy"/>
    <dgm:cxn modelId="{13F9A295-AC44-A24E-B50B-2C5BC0DED9F2}" type="presParOf" srcId="{62348515-9687-1045-ADA1-3184EC8CEC61}" destId="{7F107BC0-209A-4C42-BEA6-B6817D5C9E09}" srcOrd="3" destOrd="0" presId="urn:microsoft.com/office/officeart/2008/layout/HorizontalMultiLevelHierarchy"/>
    <dgm:cxn modelId="{AC414FB3-19D0-8446-A9C6-490236917BE8}" type="presParOf" srcId="{7F107BC0-209A-4C42-BEA6-B6817D5C9E09}" destId="{4E546A01-1907-BB4F-B534-4E81DE6081F4}" srcOrd="0" destOrd="0" presId="urn:microsoft.com/office/officeart/2008/layout/HorizontalMultiLevelHierarchy"/>
    <dgm:cxn modelId="{73CEEDD1-8C9D-8C45-B134-7876BDBD4243}" type="presParOf" srcId="{7F107BC0-209A-4C42-BEA6-B6817D5C9E09}" destId="{F5393339-32D0-CE4B-9AAA-4B6A114FA39A}" srcOrd="1" destOrd="0" presId="urn:microsoft.com/office/officeart/2008/layout/HorizontalMultiLevelHierarchy"/>
    <dgm:cxn modelId="{BCA74B91-6106-4749-985D-598EBA90E076}" type="presParOf" srcId="{62348515-9687-1045-ADA1-3184EC8CEC61}" destId="{6D977B4C-E88D-6044-A647-A6CC29747BE1}" srcOrd="4" destOrd="0" presId="urn:microsoft.com/office/officeart/2008/layout/HorizontalMultiLevelHierarchy"/>
    <dgm:cxn modelId="{A328D636-7CFA-0A4C-9E97-F6D040D9A6B0}" type="presParOf" srcId="{6D977B4C-E88D-6044-A647-A6CC29747BE1}" destId="{756F0DD8-11FC-8647-8FC8-7AAB634C5717}" srcOrd="0" destOrd="0" presId="urn:microsoft.com/office/officeart/2008/layout/HorizontalMultiLevelHierarchy"/>
    <dgm:cxn modelId="{8855213F-6A21-CB4F-AA8E-944C197DC327}" type="presParOf" srcId="{62348515-9687-1045-ADA1-3184EC8CEC61}" destId="{BAA197B9-40F5-1D46-A384-973DDEA5160C}" srcOrd="5" destOrd="0" presId="urn:microsoft.com/office/officeart/2008/layout/HorizontalMultiLevelHierarchy"/>
    <dgm:cxn modelId="{915DE2B7-183B-884A-BEF9-6957E465F371}" type="presParOf" srcId="{BAA197B9-40F5-1D46-A384-973DDEA5160C}" destId="{3C43B809-8F2F-3641-8339-1043D47661D7}" srcOrd="0" destOrd="0" presId="urn:microsoft.com/office/officeart/2008/layout/HorizontalMultiLevelHierarchy"/>
    <dgm:cxn modelId="{EC53E34E-615C-4048-A571-9F74D6EE67B9}" type="presParOf" srcId="{BAA197B9-40F5-1D46-A384-973DDEA5160C}" destId="{F59926D0-D2AF-8940-B86B-A1820706A34B}" srcOrd="1" destOrd="0" presId="urn:microsoft.com/office/officeart/2008/layout/HorizontalMultiLevelHierarchy"/>
    <dgm:cxn modelId="{3D273AAE-DC27-8A43-A719-03EFF9FCA293}" type="presParOf" srcId="{598DBB90-9C26-4C4B-AC1C-FF1827BF8D97}" destId="{1442578F-E924-E34F-9FA5-3F4C2CF65BC9}" srcOrd="4" destOrd="0" presId="urn:microsoft.com/office/officeart/2008/layout/HorizontalMultiLevelHierarchy"/>
    <dgm:cxn modelId="{13FD49CA-D9F8-A644-8EE5-352C59EABE06}" type="presParOf" srcId="{1442578F-E924-E34F-9FA5-3F4C2CF65BC9}" destId="{E59B7B1E-3287-FB43-A405-2A84667315EC}" srcOrd="0" destOrd="0" presId="urn:microsoft.com/office/officeart/2008/layout/HorizontalMultiLevelHierarchy"/>
    <dgm:cxn modelId="{D4EBB11C-CB1F-D94C-B551-9AE929630B1B}" type="presParOf" srcId="{598DBB90-9C26-4C4B-AC1C-FF1827BF8D97}" destId="{6188AF91-8F5E-7F4E-A0A2-13FA32167F53}" srcOrd="5" destOrd="0" presId="urn:microsoft.com/office/officeart/2008/layout/HorizontalMultiLevelHierarchy"/>
    <dgm:cxn modelId="{F7EC5629-D4DC-CB40-89E5-43D93A2E331E}" type="presParOf" srcId="{6188AF91-8F5E-7F4E-A0A2-13FA32167F53}" destId="{5167760A-1265-4C43-B02A-4A72B3B39F5E}" srcOrd="0" destOrd="0" presId="urn:microsoft.com/office/officeart/2008/layout/HorizontalMultiLevelHierarchy"/>
    <dgm:cxn modelId="{DB9424DC-F78E-9A42-8352-4DD9E9562803}" type="presParOf" srcId="{6188AF91-8F5E-7F4E-A0A2-13FA32167F53}" destId="{21F2C295-F343-AC4A-8BE2-CFD4DAC170AE}" srcOrd="1" destOrd="0" presId="urn:microsoft.com/office/officeart/2008/layout/HorizontalMultiLevelHierarchy"/>
    <dgm:cxn modelId="{6DD42A48-3116-9246-A7D1-389FF7435324}" type="presParOf" srcId="{598DBB90-9C26-4C4B-AC1C-FF1827BF8D97}" destId="{A3F719CD-4C36-CF49-B90F-B8B40A2B29DE}" srcOrd="6" destOrd="0" presId="urn:microsoft.com/office/officeart/2008/layout/HorizontalMultiLevelHierarchy"/>
    <dgm:cxn modelId="{37793D00-47A3-B841-BA00-E4D62EB8C6AF}" type="presParOf" srcId="{A3F719CD-4C36-CF49-B90F-B8B40A2B29DE}" destId="{348A166D-A55E-9147-99A1-FB87A4CF61A8}" srcOrd="0" destOrd="0" presId="urn:microsoft.com/office/officeart/2008/layout/HorizontalMultiLevelHierarchy"/>
    <dgm:cxn modelId="{A54421A4-690B-EC46-95BD-4BFC71D1DD0B}" type="presParOf" srcId="{598DBB90-9C26-4C4B-AC1C-FF1827BF8D97}" destId="{175E4F2C-D898-EE44-A4E7-79846E237DB4}" srcOrd="7" destOrd="0" presId="urn:microsoft.com/office/officeart/2008/layout/HorizontalMultiLevelHierarchy"/>
    <dgm:cxn modelId="{7DDB2E01-F7FC-2346-8F54-B0871E66386B}" type="presParOf" srcId="{175E4F2C-D898-EE44-A4E7-79846E237DB4}" destId="{921A596F-4B37-494E-B07C-17FD734C6406}" srcOrd="0" destOrd="0" presId="urn:microsoft.com/office/officeart/2008/layout/HorizontalMultiLevelHierarchy"/>
    <dgm:cxn modelId="{6738E683-3DE9-2F4E-B68F-F015F46D681A}" type="presParOf" srcId="{175E4F2C-D898-EE44-A4E7-79846E237DB4}" destId="{A9D518F9-DAB2-4E45-9ECB-39AA13A01564}" srcOrd="1" destOrd="0" presId="urn:microsoft.com/office/officeart/2008/layout/HorizontalMultiLevelHierarchy"/>
    <dgm:cxn modelId="{CDCFC2F3-DDB8-7C49-BAF4-B16A9B09AB87}" type="presParOf" srcId="{A9D518F9-DAB2-4E45-9ECB-39AA13A01564}" destId="{8AD8F429-D3CB-F748-A62E-81D3E0DD1FE1}" srcOrd="0" destOrd="0" presId="urn:microsoft.com/office/officeart/2008/layout/HorizontalMultiLevelHierarchy"/>
    <dgm:cxn modelId="{EE63E6FE-7A34-AE49-A6A8-8379BE503CFA}" type="presParOf" srcId="{8AD8F429-D3CB-F748-A62E-81D3E0DD1FE1}" destId="{27DD3461-0240-774A-8774-CC1A00541B61}" srcOrd="0" destOrd="0" presId="urn:microsoft.com/office/officeart/2008/layout/HorizontalMultiLevelHierarchy"/>
    <dgm:cxn modelId="{23161B62-5901-9149-96E7-351B449B73EC}" type="presParOf" srcId="{A9D518F9-DAB2-4E45-9ECB-39AA13A01564}" destId="{11FBA7F4-3D95-3448-9648-3CEA03AB03A5}" srcOrd="1" destOrd="0" presId="urn:microsoft.com/office/officeart/2008/layout/HorizontalMultiLevelHierarchy"/>
    <dgm:cxn modelId="{2A9FB27E-6681-5E40-B915-E36C6D13E63E}" type="presParOf" srcId="{11FBA7F4-3D95-3448-9648-3CEA03AB03A5}" destId="{33CE7315-72E8-4545-9EC6-56F4D0BEC64D}" srcOrd="0" destOrd="0" presId="urn:microsoft.com/office/officeart/2008/layout/HorizontalMultiLevelHierarchy"/>
    <dgm:cxn modelId="{F187D6DD-8A39-F84E-99D1-C5795154EC7F}" type="presParOf" srcId="{11FBA7F4-3D95-3448-9648-3CEA03AB03A5}" destId="{F94ACA84-3A4A-0541-929E-9401CD7FB410}" srcOrd="1" destOrd="0" presId="urn:microsoft.com/office/officeart/2008/layout/HorizontalMultiLevelHierarchy"/>
    <dgm:cxn modelId="{DE665006-9777-684C-BB24-D289A2620AAC}" type="presParOf" srcId="{598DBB90-9C26-4C4B-AC1C-FF1827BF8D97}" destId="{33DDFCA5-CC66-CC45-A430-EDF4DA53BA93}" srcOrd="8" destOrd="0" presId="urn:microsoft.com/office/officeart/2008/layout/HorizontalMultiLevelHierarchy"/>
    <dgm:cxn modelId="{33BFA3EF-09BB-4E4A-B1CD-0A44FF7983C0}" type="presParOf" srcId="{33DDFCA5-CC66-CC45-A430-EDF4DA53BA93}" destId="{569810E7-365A-FB48-A979-23DA3465EF4F}" srcOrd="0" destOrd="0" presId="urn:microsoft.com/office/officeart/2008/layout/HorizontalMultiLevelHierarchy"/>
    <dgm:cxn modelId="{05FFBB6E-786E-C641-B1F3-F129505BE248}" type="presParOf" srcId="{598DBB90-9C26-4C4B-AC1C-FF1827BF8D97}" destId="{299D8B01-3ECB-7743-BE59-35C50BD6249A}" srcOrd="9" destOrd="0" presId="urn:microsoft.com/office/officeart/2008/layout/HorizontalMultiLevelHierarchy"/>
    <dgm:cxn modelId="{3841F686-3575-354B-8E82-E56A18399143}" type="presParOf" srcId="{299D8B01-3ECB-7743-BE59-35C50BD6249A}" destId="{03DEAF18-EC72-C047-A9B4-C65BE189F02C}" srcOrd="0" destOrd="0" presId="urn:microsoft.com/office/officeart/2008/layout/HorizontalMultiLevelHierarchy"/>
    <dgm:cxn modelId="{095C81FC-36C3-AF46-8237-7018F6FAA7CD}" type="presParOf" srcId="{299D8B01-3ECB-7743-BE59-35C50BD6249A}" destId="{322C5A5A-9E25-6047-BB00-4DF750E135CE}" srcOrd="1" destOrd="0" presId="urn:microsoft.com/office/officeart/2008/layout/HorizontalMultiLevelHierarchy"/>
    <dgm:cxn modelId="{835D4E5F-4EB7-2247-A046-3D61B984D100}" type="presParOf" srcId="{322C5A5A-9E25-6047-BB00-4DF750E135CE}" destId="{393A7F55-569D-7A48-ACE0-063418018375}" srcOrd="0" destOrd="0" presId="urn:microsoft.com/office/officeart/2008/layout/HorizontalMultiLevelHierarchy"/>
    <dgm:cxn modelId="{B2734DCA-74B2-B945-B3D7-6E91E9A41CCA}" type="presParOf" srcId="{393A7F55-569D-7A48-ACE0-063418018375}" destId="{A635BF91-C219-EB46-A0CA-F8A2CE3D7BF3}" srcOrd="0" destOrd="0" presId="urn:microsoft.com/office/officeart/2008/layout/HorizontalMultiLevelHierarchy"/>
    <dgm:cxn modelId="{56CBB13E-1293-F84E-AC4A-999B1615691D}" type="presParOf" srcId="{322C5A5A-9E25-6047-BB00-4DF750E135CE}" destId="{55918953-A6CF-814A-89F9-551623EBC010}" srcOrd="1" destOrd="0" presId="urn:microsoft.com/office/officeart/2008/layout/HorizontalMultiLevelHierarchy"/>
    <dgm:cxn modelId="{B1EE1447-9088-3346-B81C-FA83DAB6BBA2}" type="presParOf" srcId="{55918953-A6CF-814A-89F9-551623EBC010}" destId="{448042B3-2CED-424C-815C-8FD3B3AD8A39}" srcOrd="0" destOrd="0" presId="urn:microsoft.com/office/officeart/2008/layout/HorizontalMultiLevelHierarchy"/>
    <dgm:cxn modelId="{ADDFB644-B1F7-564C-A077-5A01D19B653A}" type="presParOf" srcId="{55918953-A6CF-814A-89F9-551623EBC010}" destId="{4C59A0B4-1525-104C-AAB2-E79163983336}" srcOrd="1" destOrd="0" presId="urn:microsoft.com/office/officeart/2008/layout/HorizontalMultiLevelHierarchy"/>
    <dgm:cxn modelId="{F01F9B91-2EC0-F347-BD35-356D666589B6}" type="presParOf" srcId="{322C5A5A-9E25-6047-BB00-4DF750E135CE}" destId="{64F502CF-3E90-0B4E-886C-91AB3F51938D}" srcOrd="2" destOrd="0" presId="urn:microsoft.com/office/officeart/2008/layout/HorizontalMultiLevelHierarchy"/>
    <dgm:cxn modelId="{ACEDB13E-345C-9448-ADA5-38CD85E1A897}" type="presParOf" srcId="{64F502CF-3E90-0B4E-886C-91AB3F51938D}" destId="{6FA82A28-C585-714B-9AF5-DA995FB3DF53}" srcOrd="0" destOrd="0" presId="urn:microsoft.com/office/officeart/2008/layout/HorizontalMultiLevelHierarchy"/>
    <dgm:cxn modelId="{05047047-D4DD-C64A-B73C-5A385E6C7E93}" type="presParOf" srcId="{322C5A5A-9E25-6047-BB00-4DF750E135CE}" destId="{EC8B6A62-9FAE-5045-A1A4-029DC2356DF7}" srcOrd="3" destOrd="0" presId="urn:microsoft.com/office/officeart/2008/layout/HorizontalMultiLevelHierarchy"/>
    <dgm:cxn modelId="{2031A08E-3664-2A45-8BC5-8D728A2A88CC}" type="presParOf" srcId="{EC8B6A62-9FAE-5045-A1A4-029DC2356DF7}" destId="{F9B786D6-8B73-AC47-BEA7-3780A17C3E39}" srcOrd="0" destOrd="0" presId="urn:microsoft.com/office/officeart/2008/layout/HorizontalMultiLevelHierarchy"/>
    <dgm:cxn modelId="{82DC263F-E837-0840-BE84-D139C6125DA5}" type="presParOf" srcId="{EC8B6A62-9FAE-5045-A1A4-029DC2356DF7}" destId="{6E27147E-0C63-E041-AB6B-5C0E60851726}" srcOrd="1" destOrd="0" presId="urn:microsoft.com/office/officeart/2008/layout/HorizontalMultiLevelHierarchy"/>
    <dgm:cxn modelId="{4DC76B8F-EFE1-3341-A039-82CBF3E1138E}" type="presParOf" srcId="{598DBB90-9C26-4C4B-AC1C-FF1827BF8D97}" destId="{60914178-E972-6747-98A5-9B1042D21399}" srcOrd="10" destOrd="0" presId="urn:microsoft.com/office/officeart/2008/layout/HorizontalMultiLevelHierarchy"/>
    <dgm:cxn modelId="{4B8BF4A1-6578-0741-9A6F-D65E7875F8BC}" type="presParOf" srcId="{60914178-E972-6747-98A5-9B1042D21399}" destId="{03FF4E40-A0E8-E040-A52F-D68379DCC349}" srcOrd="0" destOrd="0" presId="urn:microsoft.com/office/officeart/2008/layout/HorizontalMultiLevelHierarchy"/>
    <dgm:cxn modelId="{8AA892E1-13F9-2B41-B9C0-9B66611BBB27}" type="presParOf" srcId="{598DBB90-9C26-4C4B-AC1C-FF1827BF8D97}" destId="{82D22835-936A-1D4B-AF7A-2D86C6FB8621}" srcOrd="11" destOrd="0" presId="urn:microsoft.com/office/officeart/2008/layout/HorizontalMultiLevelHierarchy"/>
    <dgm:cxn modelId="{924E5E24-9ACC-CD4D-9EDB-6008A5A3B257}" type="presParOf" srcId="{82D22835-936A-1D4B-AF7A-2D86C6FB8621}" destId="{4D444EFA-484D-8B49-B53F-73AE5DAC83CB}" srcOrd="0" destOrd="0" presId="urn:microsoft.com/office/officeart/2008/layout/HorizontalMultiLevelHierarchy"/>
    <dgm:cxn modelId="{9F803743-07A8-C844-9AE2-FD3C7A98EEA1}" type="presParOf" srcId="{82D22835-936A-1D4B-AF7A-2D86C6FB8621}" destId="{780003EA-E55D-2544-948D-2BA68EB5F8A9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726F871-37F4-AB40-AF73-6656D7E9C85D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4_2" csCatId="accent4" phldr="1"/>
      <dgm:spPr/>
      <dgm:t>
        <a:bodyPr/>
        <a:lstStyle/>
        <a:p>
          <a:endParaRPr lang="de-DE"/>
        </a:p>
      </dgm:t>
    </dgm:pt>
    <dgm:pt modelId="{BA9C693C-1CF5-6E4E-A8C4-1E304AFD6DF5}">
      <dgm:prSet phldrT="[Text]" custT="1"/>
      <dgm:spPr/>
      <dgm:t>
        <a:bodyPr/>
        <a:lstStyle/>
        <a:p>
          <a:r>
            <a:rPr lang="de-DE" sz="1800" dirty="0" err="1" smtClean="0"/>
            <a:t>BookDTO</a:t>
          </a:r>
          <a:endParaRPr lang="de-DE" sz="1800" dirty="0"/>
        </a:p>
      </dgm:t>
    </dgm:pt>
    <dgm:pt modelId="{68DA511E-B55E-2344-AE99-CE3989972A8B}" type="parTrans" cxnId="{C1615445-03DB-E240-B9BF-A2A3EC133530}">
      <dgm:prSet/>
      <dgm:spPr/>
      <dgm:t>
        <a:bodyPr/>
        <a:lstStyle/>
        <a:p>
          <a:endParaRPr lang="de-DE"/>
        </a:p>
      </dgm:t>
    </dgm:pt>
    <dgm:pt modelId="{0F89B6C1-4496-2E4F-A05E-FCD69FF0C56A}" type="sibTrans" cxnId="{C1615445-03DB-E240-B9BF-A2A3EC133530}">
      <dgm:prSet/>
      <dgm:spPr/>
      <dgm:t>
        <a:bodyPr/>
        <a:lstStyle/>
        <a:p>
          <a:endParaRPr lang="de-DE"/>
        </a:p>
      </dgm:t>
    </dgm:pt>
    <dgm:pt modelId="{C0976C3D-B466-7D45-ABFB-2E3685B2F19C}" type="asst">
      <dgm:prSet phldrT="[Text]" custT="1"/>
      <dgm:spPr/>
      <dgm:t>
        <a:bodyPr/>
        <a:lstStyle/>
        <a:p>
          <a:r>
            <a:rPr lang="de-DE" sz="1050" dirty="0" err="1" smtClean="0"/>
            <a:t>authorFir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63D1AE09-4F57-A443-A1FD-2A3034962097}" type="parTrans" cxnId="{7296B221-1380-5044-A882-2E56EC8D7EBF}">
      <dgm:prSet custT="1"/>
      <dgm:spPr/>
      <dgm:t>
        <a:bodyPr/>
        <a:lstStyle/>
        <a:p>
          <a:endParaRPr lang="de-DE" sz="100"/>
        </a:p>
      </dgm:t>
    </dgm:pt>
    <dgm:pt modelId="{4FA42787-AFF2-8044-9F8D-27FEDB17D57B}" type="sibTrans" cxnId="{7296B221-1380-5044-A882-2E56EC8D7EBF}">
      <dgm:prSet/>
      <dgm:spPr/>
      <dgm:t>
        <a:bodyPr/>
        <a:lstStyle/>
        <a:p>
          <a:endParaRPr lang="de-DE"/>
        </a:p>
      </dgm:t>
    </dgm:pt>
    <dgm:pt modelId="{488E1B12-EE7C-9246-8169-00D4E05307C4}" type="asst">
      <dgm:prSet phldrT="[Text]" custT="1"/>
      <dgm:spPr/>
      <dgm:t>
        <a:bodyPr/>
        <a:lstStyle/>
        <a:p>
          <a:r>
            <a:rPr lang="de-DE" sz="1050" dirty="0" smtClean="0"/>
            <a:t>title : String [1]</a:t>
          </a:r>
          <a:endParaRPr lang="de-DE" sz="1050" dirty="0"/>
        </a:p>
      </dgm:t>
    </dgm:pt>
    <dgm:pt modelId="{5ADEDBF8-717E-F946-B11E-4CC50D9988C8}" type="parTrans" cxnId="{D60D6519-AED7-AC49-9037-889FD03FB63D}">
      <dgm:prSet custT="1"/>
      <dgm:spPr/>
      <dgm:t>
        <a:bodyPr/>
        <a:lstStyle/>
        <a:p>
          <a:endParaRPr lang="de-DE" sz="100"/>
        </a:p>
      </dgm:t>
    </dgm:pt>
    <dgm:pt modelId="{024BB071-266A-8F4B-8C77-391F1DB2E101}" type="sibTrans" cxnId="{D60D6519-AED7-AC49-9037-889FD03FB63D}">
      <dgm:prSet/>
      <dgm:spPr/>
      <dgm:t>
        <a:bodyPr/>
        <a:lstStyle/>
        <a:p>
          <a:endParaRPr lang="de-DE"/>
        </a:p>
      </dgm:t>
    </dgm:pt>
    <dgm:pt modelId="{EF2BFDE9-4D1F-3049-B62C-65BE59459C50}" type="asst">
      <dgm:prSet phldrT="[Text]" custT="1"/>
      <dgm:spPr/>
      <dgm:t>
        <a:bodyPr/>
        <a:lstStyle/>
        <a:p>
          <a:r>
            <a:rPr lang="de-DE" sz="1050" dirty="0" err="1" smtClean="0"/>
            <a:t>publisher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5E2A7D5A-EFB6-9C4F-A960-3D6903C39497}" type="parTrans" cxnId="{39A0334F-4841-3649-83E8-F33D2E19820F}">
      <dgm:prSet custT="1"/>
      <dgm:spPr/>
      <dgm:t>
        <a:bodyPr/>
        <a:lstStyle/>
        <a:p>
          <a:endParaRPr lang="de-DE" sz="100"/>
        </a:p>
      </dgm:t>
    </dgm:pt>
    <dgm:pt modelId="{273B8D74-18E2-564C-8FAB-91D7E0D3BAAF}" type="sibTrans" cxnId="{39A0334F-4841-3649-83E8-F33D2E19820F}">
      <dgm:prSet/>
      <dgm:spPr/>
      <dgm:t>
        <a:bodyPr/>
        <a:lstStyle/>
        <a:p>
          <a:endParaRPr lang="de-DE"/>
        </a:p>
      </dgm:t>
    </dgm:pt>
    <dgm:pt modelId="{26144DC7-9794-3E4B-BF8F-331E25884D5F}" type="asst">
      <dgm:prSet phldrT="[Text]" custT="1"/>
      <dgm:spPr/>
      <dgm:t>
        <a:bodyPr/>
        <a:lstStyle/>
        <a:p>
          <a:r>
            <a:rPr lang="de-DE" sz="1050" dirty="0" err="1" smtClean="0"/>
            <a:t>chapterTitles</a:t>
          </a:r>
          <a:r>
            <a:rPr lang="de-DE" sz="1050" dirty="0" smtClean="0"/>
            <a:t> : String [*]</a:t>
          </a:r>
          <a:endParaRPr lang="de-DE" sz="1050" dirty="0"/>
        </a:p>
      </dgm:t>
    </dgm:pt>
    <dgm:pt modelId="{6577C284-4D20-2C4A-88D4-29EB6FEAC9C2}" type="parTrans" cxnId="{8EADE03F-FD19-8943-9641-8EDB79BA1F44}">
      <dgm:prSet custT="1"/>
      <dgm:spPr/>
      <dgm:t>
        <a:bodyPr/>
        <a:lstStyle/>
        <a:p>
          <a:endParaRPr lang="de-DE" sz="100"/>
        </a:p>
      </dgm:t>
    </dgm:pt>
    <dgm:pt modelId="{107CD2D0-7A83-A340-A318-AE06C14E2999}" type="sibTrans" cxnId="{8EADE03F-FD19-8943-9641-8EDB79BA1F44}">
      <dgm:prSet/>
      <dgm:spPr/>
      <dgm:t>
        <a:bodyPr/>
        <a:lstStyle/>
        <a:p>
          <a:endParaRPr lang="de-DE"/>
        </a:p>
      </dgm:t>
    </dgm:pt>
    <dgm:pt modelId="{174F7A28-653D-6F45-9860-935E35504EE1}" type="asst">
      <dgm:prSet phldrT="[Text]" custT="1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de-DE" sz="1050" dirty="0" err="1" smtClean="0"/>
            <a:t>releaseDate</a:t>
          </a:r>
          <a:r>
            <a:rPr lang="de-DE" sz="1050" dirty="0" smtClean="0"/>
            <a:t> : Date[1]</a:t>
          </a:r>
          <a:endParaRPr lang="de-DE" sz="1050" dirty="0"/>
        </a:p>
      </dgm:t>
    </dgm:pt>
    <dgm:pt modelId="{9EB1846C-ABB5-9E44-B030-7BE73C498E59}" type="parTrans" cxnId="{EA34CD41-8BC0-D343-9F67-8462579FF096}">
      <dgm:prSet custT="1"/>
      <dgm:spPr/>
      <dgm:t>
        <a:bodyPr/>
        <a:lstStyle/>
        <a:p>
          <a:endParaRPr lang="de-DE" sz="100"/>
        </a:p>
      </dgm:t>
    </dgm:pt>
    <dgm:pt modelId="{4E443D9B-DAB1-E84F-898A-5389BC17C659}" type="sibTrans" cxnId="{EA34CD41-8BC0-D343-9F67-8462579FF096}">
      <dgm:prSet/>
      <dgm:spPr/>
      <dgm:t>
        <a:bodyPr/>
        <a:lstStyle/>
        <a:p>
          <a:endParaRPr lang="de-DE"/>
        </a:p>
      </dgm:t>
    </dgm:pt>
    <dgm:pt modelId="{990267CF-EA89-A240-9514-9AFC12BBADEE}" type="asst">
      <dgm:prSet phldrT="[Text]" custT="1"/>
      <dgm:spPr/>
      <dgm:t>
        <a:bodyPr/>
        <a:lstStyle/>
        <a:p>
          <a:r>
            <a:rPr lang="de-DE" sz="1050" dirty="0" err="1" smtClean="0"/>
            <a:t>bookCover</a:t>
          </a:r>
          <a:r>
            <a:rPr lang="de-DE" sz="1050" dirty="0" smtClean="0"/>
            <a:t> : </a:t>
          </a:r>
          <a:r>
            <a:rPr lang="de-DE" sz="1050" dirty="0" err="1" smtClean="0"/>
            <a:t>BookCover</a:t>
          </a:r>
          <a:r>
            <a:rPr lang="de-DE" sz="1050" dirty="0" smtClean="0"/>
            <a:t> [1]</a:t>
          </a:r>
          <a:endParaRPr lang="de-DE" sz="1050" dirty="0"/>
        </a:p>
      </dgm:t>
    </dgm:pt>
    <dgm:pt modelId="{134C8002-4160-B046-917F-B9172D6D011E}" type="parTrans" cxnId="{2D61F9BB-8233-EE48-B46D-B8DDA9E7540A}">
      <dgm:prSet custT="1"/>
      <dgm:spPr/>
      <dgm:t>
        <a:bodyPr/>
        <a:lstStyle/>
        <a:p>
          <a:endParaRPr lang="de-DE" sz="100"/>
        </a:p>
      </dgm:t>
    </dgm:pt>
    <dgm:pt modelId="{C53420FF-ECD5-E44D-9507-00368A34154B}" type="sibTrans" cxnId="{2D61F9BB-8233-EE48-B46D-B8DDA9E7540A}">
      <dgm:prSet/>
      <dgm:spPr/>
      <dgm:t>
        <a:bodyPr/>
        <a:lstStyle/>
        <a:p>
          <a:endParaRPr lang="de-DE"/>
        </a:p>
      </dgm:t>
    </dgm:pt>
    <dgm:pt modelId="{7E0C02E8-17C2-874D-B6DE-8E3A1D3437C9}" type="asst">
      <dgm:prSet phldrT="[Text]" custT="1"/>
      <dgm:spPr/>
      <dgm:t>
        <a:bodyPr/>
        <a:lstStyle/>
        <a:p>
          <a:r>
            <a:rPr lang="de-DE" sz="1050" dirty="0" smtClean="0"/>
            <a:t>HARD_COVER</a:t>
          </a:r>
          <a:endParaRPr lang="de-DE" sz="1050" dirty="0"/>
        </a:p>
      </dgm:t>
    </dgm:pt>
    <dgm:pt modelId="{08733529-A5F0-F14D-8E75-74214329B040}" type="parTrans" cxnId="{4ADBFD76-67E7-EB4D-8449-0A55874E2FC5}">
      <dgm:prSet custT="1"/>
      <dgm:spPr/>
      <dgm:t>
        <a:bodyPr/>
        <a:lstStyle/>
        <a:p>
          <a:endParaRPr lang="de-DE" sz="100"/>
        </a:p>
      </dgm:t>
    </dgm:pt>
    <dgm:pt modelId="{6631AAE9-EE0B-4B4C-A8C5-450A5E2E867C}" type="sibTrans" cxnId="{4ADBFD76-67E7-EB4D-8449-0A55874E2FC5}">
      <dgm:prSet/>
      <dgm:spPr/>
      <dgm:t>
        <a:bodyPr/>
        <a:lstStyle/>
        <a:p>
          <a:endParaRPr lang="de-DE"/>
        </a:p>
      </dgm:t>
    </dgm:pt>
    <dgm:pt modelId="{B8771036-12B2-D843-AA17-BB631BA3F87D}" type="asst">
      <dgm:prSet phldrT="[Text]" custT="1"/>
      <dgm:spPr/>
      <dgm:t>
        <a:bodyPr/>
        <a:lstStyle/>
        <a:p>
          <a:r>
            <a:rPr lang="de-DE" sz="1050" dirty="0" smtClean="0"/>
            <a:t>PAPER_BACK</a:t>
          </a:r>
          <a:endParaRPr lang="de-DE" sz="1050" dirty="0"/>
        </a:p>
      </dgm:t>
    </dgm:pt>
    <dgm:pt modelId="{BBD19103-9913-2A49-AB85-F021773D5328}" type="parTrans" cxnId="{35AB84AE-AC1F-9F43-AA27-B9AE1C004B5A}">
      <dgm:prSet custT="1"/>
      <dgm:spPr/>
      <dgm:t>
        <a:bodyPr/>
        <a:lstStyle/>
        <a:p>
          <a:endParaRPr lang="de-DE" sz="100"/>
        </a:p>
      </dgm:t>
    </dgm:pt>
    <dgm:pt modelId="{44A2E266-B4D5-154E-9FF7-5637B63BB8E9}" type="sibTrans" cxnId="{35AB84AE-AC1F-9F43-AA27-B9AE1C004B5A}">
      <dgm:prSet/>
      <dgm:spPr/>
      <dgm:t>
        <a:bodyPr/>
        <a:lstStyle/>
        <a:p>
          <a:endParaRPr lang="de-DE"/>
        </a:p>
      </dgm:t>
    </dgm:pt>
    <dgm:pt modelId="{516F75D9-69F5-0544-995D-CFB72352B59F}" type="asst">
      <dgm:prSet phldrT="[Text]" custT="1"/>
      <dgm:spPr/>
      <dgm:t>
        <a:bodyPr/>
        <a:lstStyle/>
        <a:p>
          <a:r>
            <a:rPr lang="de-DE" sz="1050" dirty="0" err="1" smtClean="0"/>
            <a:t>authorLastName</a:t>
          </a:r>
          <a:r>
            <a:rPr lang="de-DE" sz="1050" dirty="0" smtClean="0"/>
            <a:t> : String [1]</a:t>
          </a:r>
          <a:endParaRPr lang="de-DE" sz="1050" dirty="0"/>
        </a:p>
      </dgm:t>
    </dgm:pt>
    <dgm:pt modelId="{07A4D93E-7AFB-4E4D-8384-CFBE7085BD56}" type="parTrans" cxnId="{C9DE8BC8-044C-2C43-A90D-23F43B8A2558}">
      <dgm:prSet/>
      <dgm:spPr/>
      <dgm:t>
        <a:bodyPr/>
        <a:lstStyle/>
        <a:p>
          <a:endParaRPr lang="de-DE"/>
        </a:p>
      </dgm:t>
    </dgm:pt>
    <dgm:pt modelId="{AAA22F98-61CA-D046-AFEF-94339F6845CD}" type="sibTrans" cxnId="{C9DE8BC8-044C-2C43-A90D-23F43B8A2558}">
      <dgm:prSet/>
      <dgm:spPr/>
      <dgm:t>
        <a:bodyPr/>
        <a:lstStyle/>
        <a:p>
          <a:endParaRPr lang="de-DE"/>
        </a:p>
      </dgm:t>
    </dgm:pt>
    <dgm:pt modelId="{1333B56B-0FB7-DB46-BFA8-14BA9E09141B}" type="asst">
      <dgm:prSet phldrT="[Text]" custT="1"/>
      <dgm:spPr/>
      <dgm:t>
        <a:bodyPr/>
        <a:lstStyle/>
        <a:p>
          <a:r>
            <a:rPr lang="de-DE" sz="1050" dirty="0" err="1" smtClean="0"/>
            <a:t>authorBirthday</a:t>
          </a:r>
          <a:r>
            <a:rPr lang="de-DE" sz="1050" dirty="0" smtClean="0"/>
            <a:t> : Date [1]</a:t>
          </a:r>
          <a:endParaRPr lang="de-DE" sz="1050" dirty="0"/>
        </a:p>
      </dgm:t>
    </dgm:pt>
    <dgm:pt modelId="{B3C905E3-C669-9942-AEC9-21A47474CEB4}" type="parTrans" cxnId="{6C2855C8-20FB-A243-A693-E0146E86A469}">
      <dgm:prSet/>
      <dgm:spPr/>
      <dgm:t>
        <a:bodyPr/>
        <a:lstStyle/>
        <a:p>
          <a:endParaRPr lang="de-DE"/>
        </a:p>
      </dgm:t>
    </dgm:pt>
    <dgm:pt modelId="{A9D46D24-42DC-8145-821C-7FC585792F58}" type="sibTrans" cxnId="{6C2855C8-20FB-A243-A693-E0146E86A469}">
      <dgm:prSet/>
      <dgm:spPr/>
      <dgm:t>
        <a:bodyPr/>
        <a:lstStyle/>
        <a:p>
          <a:endParaRPr lang="de-DE"/>
        </a:p>
      </dgm:t>
    </dgm:pt>
    <dgm:pt modelId="{80BD7623-DCEC-2448-AB85-7A6B177B6EBB}" type="asst">
      <dgm:prSet phldrT="[Text]" custT="1"/>
      <dgm:spPr/>
      <dgm:t>
        <a:bodyPr/>
        <a:lstStyle/>
        <a:p>
          <a:r>
            <a:rPr lang="de-DE" sz="1050" dirty="0" err="1" smtClean="0"/>
            <a:t>bookType</a:t>
          </a:r>
          <a:r>
            <a:rPr lang="de-DE" sz="1050" dirty="0" smtClean="0"/>
            <a:t> : </a:t>
          </a:r>
          <a:r>
            <a:rPr lang="de-DE" sz="1050" dirty="0" err="1" smtClean="0"/>
            <a:t>BookTypeDTO</a:t>
          </a:r>
          <a:r>
            <a:rPr lang="de-DE" sz="1050" dirty="0" smtClean="0"/>
            <a:t> [1]</a:t>
          </a:r>
          <a:endParaRPr lang="de-DE" sz="1050" dirty="0"/>
        </a:p>
      </dgm:t>
    </dgm:pt>
    <dgm:pt modelId="{B4B50EEB-1538-DF45-B07F-7D0FD83C8ED3}" type="parTrans" cxnId="{48942BBA-67F2-BE4B-8829-46C6F36EBD44}">
      <dgm:prSet/>
      <dgm:spPr/>
      <dgm:t>
        <a:bodyPr/>
        <a:lstStyle/>
        <a:p>
          <a:endParaRPr lang="de-DE"/>
        </a:p>
      </dgm:t>
    </dgm:pt>
    <dgm:pt modelId="{CBCE2F7D-0EB9-6C44-91D9-6322F007EA07}" type="sibTrans" cxnId="{48942BBA-67F2-BE4B-8829-46C6F36EBD44}">
      <dgm:prSet/>
      <dgm:spPr/>
      <dgm:t>
        <a:bodyPr/>
        <a:lstStyle/>
        <a:p>
          <a:endParaRPr lang="de-DE"/>
        </a:p>
      </dgm:t>
    </dgm:pt>
    <dgm:pt modelId="{8B212141-5DD9-384A-A240-561E72DAAF7B}" type="asst">
      <dgm:prSet phldrT="[Text]" custT="1"/>
      <dgm:spPr/>
      <dgm:t>
        <a:bodyPr/>
        <a:lstStyle/>
        <a:p>
          <a:r>
            <a:rPr lang="de-DE" sz="1050" dirty="0" smtClean="0"/>
            <a:t>NOVEL</a:t>
          </a:r>
          <a:endParaRPr lang="de-DE" sz="1050" dirty="0"/>
        </a:p>
      </dgm:t>
    </dgm:pt>
    <dgm:pt modelId="{73DD7058-02B4-D24C-9D13-AF75375EF8E6}" type="parTrans" cxnId="{C7C2A2BA-C5F5-6F49-A262-0704FB3500DF}">
      <dgm:prSet/>
      <dgm:spPr/>
      <dgm:t>
        <a:bodyPr/>
        <a:lstStyle/>
        <a:p>
          <a:endParaRPr lang="de-DE"/>
        </a:p>
      </dgm:t>
    </dgm:pt>
    <dgm:pt modelId="{65D360DD-A473-0C44-B475-0A3FC7CF8513}" type="sibTrans" cxnId="{C7C2A2BA-C5F5-6F49-A262-0704FB3500DF}">
      <dgm:prSet/>
      <dgm:spPr/>
      <dgm:t>
        <a:bodyPr/>
        <a:lstStyle/>
        <a:p>
          <a:endParaRPr lang="de-DE"/>
        </a:p>
      </dgm:t>
    </dgm:pt>
    <dgm:pt modelId="{11D7D97A-F1CC-6A49-92BA-1094CF9B8EE3}" type="asst">
      <dgm:prSet phldrT="[Text]" custT="1"/>
      <dgm:spPr/>
      <dgm:t>
        <a:bodyPr/>
        <a:lstStyle/>
        <a:p>
          <a:r>
            <a:rPr lang="de-DE" sz="1050" dirty="0" smtClean="0"/>
            <a:t>NON_FICTION</a:t>
          </a:r>
          <a:endParaRPr lang="de-DE" sz="1050" dirty="0"/>
        </a:p>
      </dgm:t>
    </dgm:pt>
    <dgm:pt modelId="{90FBF026-5068-6043-A75B-344D047E346D}" type="parTrans" cxnId="{233F5C30-41B6-E942-A551-5BF3B183A91E}">
      <dgm:prSet/>
      <dgm:spPr/>
      <dgm:t>
        <a:bodyPr/>
        <a:lstStyle/>
        <a:p>
          <a:endParaRPr lang="de-DE"/>
        </a:p>
      </dgm:t>
    </dgm:pt>
    <dgm:pt modelId="{C11503AE-A5AE-C449-8E18-0618BF5D3847}" type="sibTrans" cxnId="{233F5C30-41B6-E942-A551-5BF3B183A91E}">
      <dgm:prSet/>
      <dgm:spPr/>
      <dgm:t>
        <a:bodyPr/>
        <a:lstStyle/>
        <a:p>
          <a:endParaRPr lang="de-DE"/>
        </a:p>
      </dgm:t>
    </dgm:pt>
    <dgm:pt modelId="{613226CB-11A4-C549-82A6-64B9BCFE1002}" type="pres">
      <dgm:prSet presAssocID="{0726F871-37F4-AB40-AF73-6656D7E9C85D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BA40406-1E55-1642-A22A-B49F5A173AC8}" type="pres">
      <dgm:prSet presAssocID="{BA9C693C-1CF5-6E4E-A8C4-1E304AFD6DF5}" presName="root1" presStyleCnt="0"/>
      <dgm:spPr/>
    </dgm:pt>
    <dgm:pt modelId="{99E936FD-8649-9640-96D2-9202E1CEC417}" type="pres">
      <dgm:prSet presAssocID="{BA9C693C-1CF5-6E4E-A8C4-1E304AFD6DF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98DBB90-9C26-4C4B-AC1C-FF1827BF8D97}" type="pres">
      <dgm:prSet presAssocID="{BA9C693C-1CF5-6E4E-A8C4-1E304AFD6DF5}" presName="level2hierChild" presStyleCnt="0"/>
      <dgm:spPr/>
    </dgm:pt>
    <dgm:pt modelId="{D778007E-9974-2C41-910F-E1E5562B090A}" type="pres">
      <dgm:prSet presAssocID="{5ADEDBF8-717E-F946-B11E-4CC50D9988C8}" presName="conn2-1" presStyleLbl="parChTrans1D2" presStyleIdx="0" presStyleCnt="9"/>
      <dgm:spPr/>
      <dgm:t>
        <a:bodyPr/>
        <a:lstStyle/>
        <a:p>
          <a:endParaRPr lang="de-DE"/>
        </a:p>
      </dgm:t>
    </dgm:pt>
    <dgm:pt modelId="{AB33012A-8C54-6245-96E8-E0111C081E33}" type="pres">
      <dgm:prSet presAssocID="{5ADEDBF8-717E-F946-B11E-4CC50D9988C8}" presName="connTx" presStyleLbl="parChTrans1D2" presStyleIdx="0" presStyleCnt="9"/>
      <dgm:spPr/>
      <dgm:t>
        <a:bodyPr/>
        <a:lstStyle/>
        <a:p>
          <a:endParaRPr lang="de-DE"/>
        </a:p>
      </dgm:t>
    </dgm:pt>
    <dgm:pt modelId="{BCA6FE17-8DB6-0242-A6E4-C7D3971EBD97}" type="pres">
      <dgm:prSet presAssocID="{488E1B12-EE7C-9246-8169-00D4E05307C4}" presName="root2" presStyleCnt="0"/>
      <dgm:spPr/>
    </dgm:pt>
    <dgm:pt modelId="{5E781A07-1968-A143-88EC-827822313B55}" type="pres">
      <dgm:prSet presAssocID="{488E1B12-EE7C-9246-8169-00D4E05307C4}" presName="LevelTwoTextNode" presStyleLbl="asst1" presStyleIdx="0" presStyleCnt="13" custScaleX="98965" custScaleY="9650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DDED42C-20CE-EF4E-85AA-7830E9428B23}" type="pres">
      <dgm:prSet presAssocID="{488E1B12-EE7C-9246-8169-00D4E05307C4}" presName="level3hierChild" presStyleCnt="0"/>
      <dgm:spPr/>
    </dgm:pt>
    <dgm:pt modelId="{B7A5E06F-5B4B-C947-BFA6-C1FA5998CE54}" type="pres">
      <dgm:prSet presAssocID="{63D1AE09-4F57-A443-A1FD-2A3034962097}" presName="conn2-1" presStyleLbl="parChTrans1D2" presStyleIdx="1" presStyleCnt="9"/>
      <dgm:spPr/>
      <dgm:t>
        <a:bodyPr/>
        <a:lstStyle/>
        <a:p>
          <a:endParaRPr lang="de-DE"/>
        </a:p>
      </dgm:t>
    </dgm:pt>
    <dgm:pt modelId="{04D949B2-6FA5-4948-B335-DDA85E4E65B1}" type="pres">
      <dgm:prSet presAssocID="{63D1AE09-4F57-A443-A1FD-2A3034962097}" presName="connTx" presStyleLbl="parChTrans1D2" presStyleIdx="1" presStyleCnt="9"/>
      <dgm:spPr/>
      <dgm:t>
        <a:bodyPr/>
        <a:lstStyle/>
        <a:p>
          <a:endParaRPr lang="de-DE"/>
        </a:p>
      </dgm:t>
    </dgm:pt>
    <dgm:pt modelId="{5B0B9041-BDB4-7141-9957-0BEAFB33AEFE}" type="pres">
      <dgm:prSet presAssocID="{C0976C3D-B466-7D45-ABFB-2E3685B2F19C}" presName="root2" presStyleCnt="0"/>
      <dgm:spPr/>
    </dgm:pt>
    <dgm:pt modelId="{D35EA19E-870C-2F44-A620-E6B51FB20589}" type="pres">
      <dgm:prSet presAssocID="{C0976C3D-B466-7D45-ABFB-2E3685B2F19C}" presName="LevelTwoTextNode" presStyleLbl="asst1" presStyleIdx="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2348515-9687-1045-ADA1-3184EC8CEC61}" type="pres">
      <dgm:prSet presAssocID="{C0976C3D-B466-7D45-ABFB-2E3685B2F19C}" presName="level3hierChild" presStyleCnt="0"/>
      <dgm:spPr/>
    </dgm:pt>
    <dgm:pt modelId="{42308E2A-E89A-524C-8598-CEBE02495F63}" type="pres">
      <dgm:prSet presAssocID="{07A4D93E-7AFB-4E4D-8384-CFBE7085BD56}" presName="conn2-1" presStyleLbl="parChTrans1D2" presStyleIdx="2" presStyleCnt="9"/>
      <dgm:spPr/>
      <dgm:t>
        <a:bodyPr/>
        <a:lstStyle/>
        <a:p>
          <a:endParaRPr lang="de-DE"/>
        </a:p>
      </dgm:t>
    </dgm:pt>
    <dgm:pt modelId="{9D34DFA2-4C7C-5642-ADF0-8F3EDFBC71AF}" type="pres">
      <dgm:prSet presAssocID="{07A4D93E-7AFB-4E4D-8384-CFBE7085BD56}" presName="connTx" presStyleLbl="parChTrans1D2" presStyleIdx="2" presStyleCnt="9"/>
      <dgm:spPr/>
      <dgm:t>
        <a:bodyPr/>
        <a:lstStyle/>
        <a:p>
          <a:endParaRPr lang="de-DE"/>
        </a:p>
      </dgm:t>
    </dgm:pt>
    <dgm:pt modelId="{5A37FE29-273D-2F4A-BA74-A981AFDF7035}" type="pres">
      <dgm:prSet presAssocID="{516F75D9-69F5-0544-995D-CFB72352B59F}" presName="root2" presStyleCnt="0"/>
      <dgm:spPr/>
    </dgm:pt>
    <dgm:pt modelId="{887F982A-9047-D440-AFAC-0FD9C008886A}" type="pres">
      <dgm:prSet presAssocID="{516F75D9-69F5-0544-995D-CFB72352B59F}" presName="LevelTwoTextNode" presStyleLbl="asst1" presStyleIdx="2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0B7AF0-357F-C843-8A5C-C85C349471AE}" type="pres">
      <dgm:prSet presAssocID="{516F75D9-69F5-0544-995D-CFB72352B59F}" presName="level3hierChild" presStyleCnt="0"/>
      <dgm:spPr/>
    </dgm:pt>
    <dgm:pt modelId="{996189F3-00B3-7D49-A5FC-5430A26FB618}" type="pres">
      <dgm:prSet presAssocID="{B3C905E3-C669-9942-AEC9-21A47474CEB4}" presName="conn2-1" presStyleLbl="parChTrans1D2" presStyleIdx="3" presStyleCnt="9"/>
      <dgm:spPr/>
      <dgm:t>
        <a:bodyPr/>
        <a:lstStyle/>
        <a:p>
          <a:endParaRPr lang="de-DE"/>
        </a:p>
      </dgm:t>
    </dgm:pt>
    <dgm:pt modelId="{DB79995B-B315-9C4C-BCA0-97AF2CF960CD}" type="pres">
      <dgm:prSet presAssocID="{B3C905E3-C669-9942-AEC9-21A47474CEB4}" presName="connTx" presStyleLbl="parChTrans1D2" presStyleIdx="3" presStyleCnt="9"/>
      <dgm:spPr/>
      <dgm:t>
        <a:bodyPr/>
        <a:lstStyle/>
        <a:p>
          <a:endParaRPr lang="de-DE"/>
        </a:p>
      </dgm:t>
    </dgm:pt>
    <dgm:pt modelId="{7361FCA1-91C1-7340-94A4-772CB0377746}" type="pres">
      <dgm:prSet presAssocID="{1333B56B-0FB7-DB46-BFA8-14BA9E09141B}" presName="root2" presStyleCnt="0"/>
      <dgm:spPr/>
    </dgm:pt>
    <dgm:pt modelId="{9E30CAA0-C8DA-7340-9AC5-F7AFBAE25743}" type="pres">
      <dgm:prSet presAssocID="{1333B56B-0FB7-DB46-BFA8-14BA9E09141B}" presName="LevelTwoTextNode" presStyleLbl="asst1" presStyleIdx="3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5AE1B1C-8672-CF47-8665-1AE6D32AB23F}" type="pres">
      <dgm:prSet presAssocID="{1333B56B-0FB7-DB46-BFA8-14BA9E09141B}" presName="level3hierChild" presStyleCnt="0"/>
      <dgm:spPr/>
    </dgm:pt>
    <dgm:pt modelId="{1442578F-E924-E34F-9FA5-3F4C2CF65BC9}" type="pres">
      <dgm:prSet presAssocID="{5E2A7D5A-EFB6-9C4F-A960-3D6903C39497}" presName="conn2-1" presStyleLbl="parChTrans1D2" presStyleIdx="4" presStyleCnt="9"/>
      <dgm:spPr/>
      <dgm:t>
        <a:bodyPr/>
        <a:lstStyle/>
        <a:p>
          <a:endParaRPr lang="de-DE"/>
        </a:p>
      </dgm:t>
    </dgm:pt>
    <dgm:pt modelId="{E59B7B1E-3287-FB43-A405-2A84667315EC}" type="pres">
      <dgm:prSet presAssocID="{5E2A7D5A-EFB6-9C4F-A960-3D6903C39497}" presName="connTx" presStyleLbl="parChTrans1D2" presStyleIdx="4" presStyleCnt="9"/>
      <dgm:spPr/>
      <dgm:t>
        <a:bodyPr/>
        <a:lstStyle/>
        <a:p>
          <a:endParaRPr lang="de-DE"/>
        </a:p>
      </dgm:t>
    </dgm:pt>
    <dgm:pt modelId="{6188AF91-8F5E-7F4E-A0A2-13FA32167F53}" type="pres">
      <dgm:prSet presAssocID="{EF2BFDE9-4D1F-3049-B62C-65BE59459C50}" presName="root2" presStyleCnt="0"/>
      <dgm:spPr/>
    </dgm:pt>
    <dgm:pt modelId="{5167760A-1265-4C43-B02A-4A72B3B39F5E}" type="pres">
      <dgm:prSet presAssocID="{EF2BFDE9-4D1F-3049-B62C-65BE59459C50}" presName="LevelTwoTextNode" presStyleLbl="asst1" presStyleIdx="4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1F2C295-F343-AC4A-8BE2-CFD4DAC170AE}" type="pres">
      <dgm:prSet presAssocID="{EF2BFDE9-4D1F-3049-B62C-65BE59459C50}" presName="level3hierChild" presStyleCnt="0"/>
      <dgm:spPr/>
    </dgm:pt>
    <dgm:pt modelId="{A3F719CD-4C36-CF49-B90F-B8B40A2B29DE}" type="pres">
      <dgm:prSet presAssocID="{6577C284-4D20-2C4A-88D4-29EB6FEAC9C2}" presName="conn2-1" presStyleLbl="parChTrans1D2" presStyleIdx="5" presStyleCnt="9"/>
      <dgm:spPr/>
      <dgm:t>
        <a:bodyPr/>
        <a:lstStyle/>
        <a:p>
          <a:endParaRPr lang="de-DE"/>
        </a:p>
      </dgm:t>
    </dgm:pt>
    <dgm:pt modelId="{348A166D-A55E-9147-99A1-FB87A4CF61A8}" type="pres">
      <dgm:prSet presAssocID="{6577C284-4D20-2C4A-88D4-29EB6FEAC9C2}" presName="connTx" presStyleLbl="parChTrans1D2" presStyleIdx="5" presStyleCnt="9"/>
      <dgm:spPr/>
      <dgm:t>
        <a:bodyPr/>
        <a:lstStyle/>
        <a:p>
          <a:endParaRPr lang="de-DE"/>
        </a:p>
      </dgm:t>
    </dgm:pt>
    <dgm:pt modelId="{175E4F2C-D898-EE44-A4E7-79846E237DB4}" type="pres">
      <dgm:prSet presAssocID="{26144DC7-9794-3E4B-BF8F-331E25884D5F}" presName="root2" presStyleCnt="0"/>
      <dgm:spPr/>
    </dgm:pt>
    <dgm:pt modelId="{921A596F-4B37-494E-B07C-17FD734C6406}" type="pres">
      <dgm:prSet presAssocID="{26144DC7-9794-3E4B-BF8F-331E25884D5F}" presName="LevelTwoTextNode" presStyleLbl="asst1" presStyleIdx="5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D518F9-DAB2-4E45-9ECB-39AA13A01564}" type="pres">
      <dgm:prSet presAssocID="{26144DC7-9794-3E4B-BF8F-331E25884D5F}" presName="level3hierChild" presStyleCnt="0"/>
      <dgm:spPr/>
    </dgm:pt>
    <dgm:pt modelId="{33DDFCA5-CC66-CC45-A430-EDF4DA53BA93}" type="pres">
      <dgm:prSet presAssocID="{134C8002-4160-B046-917F-B9172D6D011E}" presName="conn2-1" presStyleLbl="parChTrans1D2" presStyleIdx="6" presStyleCnt="9"/>
      <dgm:spPr/>
      <dgm:t>
        <a:bodyPr/>
        <a:lstStyle/>
        <a:p>
          <a:endParaRPr lang="de-DE"/>
        </a:p>
      </dgm:t>
    </dgm:pt>
    <dgm:pt modelId="{569810E7-365A-FB48-A979-23DA3465EF4F}" type="pres">
      <dgm:prSet presAssocID="{134C8002-4160-B046-917F-B9172D6D011E}" presName="connTx" presStyleLbl="parChTrans1D2" presStyleIdx="6" presStyleCnt="9"/>
      <dgm:spPr/>
      <dgm:t>
        <a:bodyPr/>
        <a:lstStyle/>
        <a:p>
          <a:endParaRPr lang="de-DE"/>
        </a:p>
      </dgm:t>
    </dgm:pt>
    <dgm:pt modelId="{299D8B01-3ECB-7743-BE59-35C50BD6249A}" type="pres">
      <dgm:prSet presAssocID="{990267CF-EA89-A240-9514-9AFC12BBADEE}" presName="root2" presStyleCnt="0"/>
      <dgm:spPr/>
    </dgm:pt>
    <dgm:pt modelId="{03DEAF18-EC72-C047-A9B4-C65BE189F02C}" type="pres">
      <dgm:prSet presAssocID="{990267CF-EA89-A240-9514-9AFC12BBADEE}" presName="LevelTwoTextNode" presStyleLbl="asst1" presStyleIdx="6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22C5A5A-9E25-6047-BB00-4DF750E135CE}" type="pres">
      <dgm:prSet presAssocID="{990267CF-EA89-A240-9514-9AFC12BBADEE}" presName="level3hierChild" presStyleCnt="0"/>
      <dgm:spPr/>
    </dgm:pt>
    <dgm:pt modelId="{393A7F55-569D-7A48-ACE0-063418018375}" type="pres">
      <dgm:prSet presAssocID="{08733529-A5F0-F14D-8E75-74214329B040}" presName="conn2-1" presStyleLbl="parChTrans1D3" presStyleIdx="0" presStyleCnt="4"/>
      <dgm:spPr/>
      <dgm:t>
        <a:bodyPr/>
        <a:lstStyle/>
        <a:p>
          <a:endParaRPr lang="de-DE"/>
        </a:p>
      </dgm:t>
    </dgm:pt>
    <dgm:pt modelId="{A635BF91-C219-EB46-A0CA-F8A2CE3D7BF3}" type="pres">
      <dgm:prSet presAssocID="{08733529-A5F0-F14D-8E75-74214329B040}" presName="connTx" presStyleLbl="parChTrans1D3" presStyleIdx="0" presStyleCnt="4"/>
      <dgm:spPr/>
      <dgm:t>
        <a:bodyPr/>
        <a:lstStyle/>
        <a:p>
          <a:endParaRPr lang="de-DE"/>
        </a:p>
      </dgm:t>
    </dgm:pt>
    <dgm:pt modelId="{55918953-A6CF-814A-89F9-551623EBC010}" type="pres">
      <dgm:prSet presAssocID="{7E0C02E8-17C2-874D-B6DE-8E3A1D3437C9}" presName="root2" presStyleCnt="0"/>
      <dgm:spPr/>
    </dgm:pt>
    <dgm:pt modelId="{448042B3-2CED-424C-815C-8FD3B3AD8A39}" type="pres">
      <dgm:prSet presAssocID="{7E0C02E8-17C2-874D-B6DE-8E3A1D3437C9}" presName="LevelTwoTextNode" presStyleLbl="asst1" presStyleIdx="7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C59A0B4-1525-104C-AAB2-E79163983336}" type="pres">
      <dgm:prSet presAssocID="{7E0C02E8-17C2-874D-B6DE-8E3A1D3437C9}" presName="level3hierChild" presStyleCnt="0"/>
      <dgm:spPr/>
    </dgm:pt>
    <dgm:pt modelId="{64F502CF-3E90-0B4E-886C-91AB3F51938D}" type="pres">
      <dgm:prSet presAssocID="{BBD19103-9913-2A49-AB85-F021773D5328}" presName="conn2-1" presStyleLbl="parChTrans1D3" presStyleIdx="1" presStyleCnt="4"/>
      <dgm:spPr/>
      <dgm:t>
        <a:bodyPr/>
        <a:lstStyle/>
        <a:p>
          <a:endParaRPr lang="de-DE"/>
        </a:p>
      </dgm:t>
    </dgm:pt>
    <dgm:pt modelId="{6FA82A28-C585-714B-9AF5-DA995FB3DF53}" type="pres">
      <dgm:prSet presAssocID="{BBD19103-9913-2A49-AB85-F021773D5328}" presName="connTx" presStyleLbl="parChTrans1D3" presStyleIdx="1" presStyleCnt="4"/>
      <dgm:spPr/>
      <dgm:t>
        <a:bodyPr/>
        <a:lstStyle/>
        <a:p>
          <a:endParaRPr lang="de-DE"/>
        </a:p>
      </dgm:t>
    </dgm:pt>
    <dgm:pt modelId="{EC8B6A62-9FAE-5045-A1A4-029DC2356DF7}" type="pres">
      <dgm:prSet presAssocID="{B8771036-12B2-D843-AA17-BB631BA3F87D}" presName="root2" presStyleCnt="0"/>
      <dgm:spPr/>
    </dgm:pt>
    <dgm:pt modelId="{F9B786D6-8B73-AC47-BEA7-3780A17C3E39}" type="pres">
      <dgm:prSet presAssocID="{B8771036-12B2-D843-AA17-BB631BA3F87D}" presName="LevelTwoTextNode" presStyleLbl="asst1" presStyleIdx="8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E27147E-0C63-E041-AB6B-5C0E60851726}" type="pres">
      <dgm:prSet presAssocID="{B8771036-12B2-D843-AA17-BB631BA3F87D}" presName="level3hierChild" presStyleCnt="0"/>
      <dgm:spPr/>
    </dgm:pt>
    <dgm:pt modelId="{60914178-E972-6747-98A5-9B1042D21399}" type="pres">
      <dgm:prSet presAssocID="{9EB1846C-ABB5-9E44-B030-7BE73C498E59}" presName="conn2-1" presStyleLbl="parChTrans1D2" presStyleIdx="7" presStyleCnt="9"/>
      <dgm:spPr/>
      <dgm:t>
        <a:bodyPr/>
        <a:lstStyle/>
        <a:p>
          <a:endParaRPr lang="de-DE"/>
        </a:p>
      </dgm:t>
    </dgm:pt>
    <dgm:pt modelId="{03FF4E40-A0E8-E040-A52F-D68379DCC349}" type="pres">
      <dgm:prSet presAssocID="{9EB1846C-ABB5-9E44-B030-7BE73C498E59}" presName="connTx" presStyleLbl="parChTrans1D2" presStyleIdx="7" presStyleCnt="9"/>
      <dgm:spPr/>
      <dgm:t>
        <a:bodyPr/>
        <a:lstStyle/>
        <a:p>
          <a:endParaRPr lang="de-DE"/>
        </a:p>
      </dgm:t>
    </dgm:pt>
    <dgm:pt modelId="{82D22835-936A-1D4B-AF7A-2D86C6FB8621}" type="pres">
      <dgm:prSet presAssocID="{174F7A28-653D-6F45-9860-935E35504EE1}" presName="root2" presStyleCnt="0"/>
      <dgm:spPr/>
    </dgm:pt>
    <dgm:pt modelId="{4D444EFA-484D-8B49-B53F-73AE5DAC83CB}" type="pres">
      <dgm:prSet presAssocID="{174F7A28-653D-6F45-9860-935E35504EE1}" presName="LevelTwoTextNode" presStyleLbl="asst1" presStyleIdx="9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80003EA-E55D-2544-948D-2BA68EB5F8A9}" type="pres">
      <dgm:prSet presAssocID="{174F7A28-653D-6F45-9860-935E35504EE1}" presName="level3hierChild" presStyleCnt="0"/>
      <dgm:spPr/>
    </dgm:pt>
    <dgm:pt modelId="{91975744-72FE-E947-98E3-ECF3B2E7C3DC}" type="pres">
      <dgm:prSet presAssocID="{B4B50EEB-1538-DF45-B07F-7D0FD83C8ED3}" presName="conn2-1" presStyleLbl="parChTrans1D2" presStyleIdx="8" presStyleCnt="9"/>
      <dgm:spPr/>
      <dgm:t>
        <a:bodyPr/>
        <a:lstStyle/>
        <a:p>
          <a:endParaRPr lang="de-DE"/>
        </a:p>
      </dgm:t>
    </dgm:pt>
    <dgm:pt modelId="{7C4C248C-9225-884B-A9F0-E626AEAE24C9}" type="pres">
      <dgm:prSet presAssocID="{B4B50EEB-1538-DF45-B07F-7D0FD83C8ED3}" presName="connTx" presStyleLbl="parChTrans1D2" presStyleIdx="8" presStyleCnt="9"/>
      <dgm:spPr/>
      <dgm:t>
        <a:bodyPr/>
        <a:lstStyle/>
        <a:p>
          <a:endParaRPr lang="de-DE"/>
        </a:p>
      </dgm:t>
    </dgm:pt>
    <dgm:pt modelId="{FD91877E-03C5-8D41-B768-0E4703294F6C}" type="pres">
      <dgm:prSet presAssocID="{80BD7623-DCEC-2448-AB85-7A6B177B6EBB}" presName="root2" presStyleCnt="0"/>
      <dgm:spPr/>
    </dgm:pt>
    <dgm:pt modelId="{73B69BAE-7567-8E4E-A9B2-D2862F6B978E}" type="pres">
      <dgm:prSet presAssocID="{80BD7623-DCEC-2448-AB85-7A6B177B6EBB}" presName="LevelTwoTextNode" presStyleLbl="asst1" presStyleIdx="10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7C85358-980A-884D-9DDA-63018758070E}" type="pres">
      <dgm:prSet presAssocID="{80BD7623-DCEC-2448-AB85-7A6B177B6EBB}" presName="level3hierChild" presStyleCnt="0"/>
      <dgm:spPr/>
    </dgm:pt>
    <dgm:pt modelId="{55365CED-83D4-194F-A914-2CFC37CD9B45}" type="pres">
      <dgm:prSet presAssocID="{73DD7058-02B4-D24C-9D13-AF75375EF8E6}" presName="conn2-1" presStyleLbl="parChTrans1D3" presStyleIdx="2" presStyleCnt="4"/>
      <dgm:spPr/>
      <dgm:t>
        <a:bodyPr/>
        <a:lstStyle/>
        <a:p>
          <a:endParaRPr lang="de-DE"/>
        </a:p>
      </dgm:t>
    </dgm:pt>
    <dgm:pt modelId="{12E46C15-0F90-7843-8745-7EFB583D5A38}" type="pres">
      <dgm:prSet presAssocID="{73DD7058-02B4-D24C-9D13-AF75375EF8E6}" presName="connTx" presStyleLbl="parChTrans1D3" presStyleIdx="2" presStyleCnt="4"/>
      <dgm:spPr/>
      <dgm:t>
        <a:bodyPr/>
        <a:lstStyle/>
        <a:p>
          <a:endParaRPr lang="de-DE"/>
        </a:p>
      </dgm:t>
    </dgm:pt>
    <dgm:pt modelId="{76889E03-95A4-234A-BE0C-87E6CEF02D37}" type="pres">
      <dgm:prSet presAssocID="{8B212141-5DD9-384A-A240-561E72DAAF7B}" presName="root2" presStyleCnt="0"/>
      <dgm:spPr/>
    </dgm:pt>
    <dgm:pt modelId="{21C89BDE-E13D-974B-B17D-6B6CDBB2C8DB}" type="pres">
      <dgm:prSet presAssocID="{8B212141-5DD9-384A-A240-561E72DAAF7B}" presName="LevelTwoTextNode" presStyleLbl="asst1" presStyleIdx="11" presStyleCnt="13" custScaleX="99916" custScaleY="9743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B25556A-79E0-D042-8EE4-421CC8CFEFD5}" type="pres">
      <dgm:prSet presAssocID="{8B212141-5DD9-384A-A240-561E72DAAF7B}" presName="level3hierChild" presStyleCnt="0"/>
      <dgm:spPr/>
    </dgm:pt>
    <dgm:pt modelId="{2242491C-75CB-654B-ABCA-74AF8E25B4E8}" type="pres">
      <dgm:prSet presAssocID="{90FBF026-5068-6043-A75B-344D047E346D}" presName="conn2-1" presStyleLbl="parChTrans1D3" presStyleIdx="3" presStyleCnt="4"/>
      <dgm:spPr/>
      <dgm:t>
        <a:bodyPr/>
        <a:lstStyle/>
        <a:p>
          <a:endParaRPr lang="de-DE"/>
        </a:p>
      </dgm:t>
    </dgm:pt>
    <dgm:pt modelId="{62990B64-CF79-7146-BF7B-48A759C6E310}" type="pres">
      <dgm:prSet presAssocID="{90FBF026-5068-6043-A75B-344D047E346D}" presName="connTx" presStyleLbl="parChTrans1D3" presStyleIdx="3" presStyleCnt="4"/>
      <dgm:spPr/>
      <dgm:t>
        <a:bodyPr/>
        <a:lstStyle/>
        <a:p>
          <a:endParaRPr lang="de-DE"/>
        </a:p>
      </dgm:t>
    </dgm:pt>
    <dgm:pt modelId="{34BC8C0B-A669-9B42-82AD-78E158ADEE5B}" type="pres">
      <dgm:prSet presAssocID="{11D7D97A-F1CC-6A49-92BA-1094CF9B8EE3}" presName="root2" presStyleCnt="0"/>
      <dgm:spPr/>
    </dgm:pt>
    <dgm:pt modelId="{84732D04-01E1-2742-A082-1195BCDCDEC2}" type="pres">
      <dgm:prSet presAssocID="{11D7D97A-F1CC-6A49-92BA-1094CF9B8EE3}" presName="LevelTwoTextNode" presStyleLbl="asst1" presStyleIdx="12" presStyleCnt="1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4690BE0-04A2-9D4D-99E9-6A309CCF16E7}" type="pres">
      <dgm:prSet presAssocID="{11D7D97A-F1CC-6A49-92BA-1094CF9B8EE3}" presName="level3hierChild" presStyleCnt="0"/>
      <dgm:spPr/>
    </dgm:pt>
  </dgm:ptLst>
  <dgm:cxnLst>
    <dgm:cxn modelId="{7352C733-0A6B-C448-8B3E-B7975F1B010B}" type="presOf" srcId="{08733529-A5F0-F14D-8E75-74214329B040}" destId="{A635BF91-C219-EB46-A0CA-F8A2CE3D7BF3}" srcOrd="1" destOrd="0" presId="urn:microsoft.com/office/officeart/2008/layout/HorizontalMultiLevelHierarchy"/>
    <dgm:cxn modelId="{B33C0526-6768-C94B-8BB0-EB87CF28DC08}" type="presOf" srcId="{B3C905E3-C669-9942-AEC9-21A47474CEB4}" destId="{DB79995B-B315-9C4C-BCA0-97AF2CF960CD}" srcOrd="1" destOrd="0" presId="urn:microsoft.com/office/officeart/2008/layout/HorizontalMultiLevelHierarchy"/>
    <dgm:cxn modelId="{D960EA5C-FA9E-F44E-B942-CE026F34DA1D}" type="presOf" srcId="{5ADEDBF8-717E-F946-B11E-4CC50D9988C8}" destId="{D778007E-9974-2C41-910F-E1E5562B090A}" srcOrd="0" destOrd="0" presId="urn:microsoft.com/office/officeart/2008/layout/HorizontalMultiLevelHierarchy"/>
    <dgm:cxn modelId="{37E262FE-AD9A-7845-A27C-F3C6C5B92423}" type="presOf" srcId="{BA9C693C-1CF5-6E4E-A8C4-1E304AFD6DF5}" destId="{99E936FD-8649-9640-96D2-9202E1CEC417}" srcOrd="0" destOrd="0" presId="urn:microsoft.com/office/officeart/2008/layout/HorizontalMultiLevelHierarchy"/>
    <dgm:cxn modelId="{8B219793-20BC-3140-AEEA-41E8EAE73786}" type="presOf" srcId="{174F7A28-653D-6F45-9860-935E35504EE1}" destId="{4D444EFA-484D-8B49-B53F-73AE5DAC83CB}" srcOrd="0" destOrd="0" presId="urn:microsoft.com/office/officeart/2008/layout/HorizontalMultiLevelHierarchy"/>
    <dgm:cxn modelId="{4FFCF716-8418-EE41-8B83-E1864B808049}" type="presOf" srcId="{B4B50EEB-1538-DF45-B07F-7D0FD83C8ED3}" destId="{91975744-72FE-E947-98E3-ECF3B2E7C3DC}" srcOrd="0" destOrd="0" presId="urn:microsoft.com/office/officeart/2008/layout/HorizontalMultiLevelHierarchy"/>
    <dgm:cxn modelId="{35AB84AE-AC1F-9F43-AA27-B9AE1C004B5A}" srcId="{990267CF-EA89-A240-9514-9AFC12BBADEE}" destId="{B8771036-12B2-D843-AA17-BB631BA3F87D}" srcOrd="1" destOrd="0" parTransId="{BBD19103-9913-2A49-AB85-F021773D5328}" sibTransId="{44A2E266-B4D5-154E-9FF7-5637B63BB8E9}"/>
    <dgm:cxn modelId="{5BC9E326-493B-ED4C-86BA-3F17EEEE75D4}" type="presOf" srcId="{6577C284-4D20-2C4A-88D4-29EB6FEAC9C2}" destId="{348A166D-A55E-9147-99A1-FB87A4CF61A8}" srcOrd="1" destOrd="0" presId="urn:microsoft.com/office/officeart/2008/layout/HorizontalMultiLevelHierarchy"/>
    <dgm:cxn modelId="{D7A7CA19-E839-5E40-87CB-8BC92F9A52DF}" type="presOf" srcId="{C0976C3D-B466-7D45-ABFB-2E3685B2F19C}" destId="{D35EA19E-870C-2F44-A620-E6B51FB20589}" srcOrd="0" destOrd="0" presId="urn:microsoft.com/office/officeart/2008/layout/HorizontalMultiLevelHierarchy"/>
    <dgm:cxn modelId="{233F5C30-41B6-E942-A551-5BF3B183A91E}" srcId="{80BD7623-DCEC-2448-AB85-7A6B177B6EBB}" destId="{11D7D97A-F1CC-6A49-92BA-1094CF9B8EE3}" srcOrd="1" destOrd="0" parTransId="{90FBF026-5068-6043-A75B-344D047E346D}" sibTransId="{C11503AE-A5AE-C449-8E18-0618BF5D3847}"/>
    <dgm:cxn modelId="{6C2855C8-20FB-A243-A693-E0146E86A469}" srcId="{BA9C693C-1CF5-6E4E-A8C4-1E304AFD6DF5}" destId="{1333B56B-0FB7-DB46-BFA8-14BA9E09141B}" srcOrd="3" destOrd="0" parTransId="{B3C905E3-C669-9942-AEC9-21A47474CEB4}" sibTransId="{A9D46D24-42DC-8145-821C-7FC585792F58}"/>
    <dgm:cxn modelId="{7296B221-1380-5044-A882-2E56EC8D7EBF}" srcId="{BA9C693C-1CF5-6E4E-A8C4-1E304AFD6DF5}" destId="{C0976C3D-B466-7D45-ABFB-2E3685B2F19C}" srcOrd="1" destOrd="0" parTransId="{63D1AE09-4F57-A443-A1FD-2A3034962097}" sibTransId="{4FA42787-AFF2-8044-9F8D-27FEDB17D57B}"/>
    <dgm:cxn modelId="{3D2D4E13-6D14-8142-B269-A6E4F949DFF7}" type="presOf" srcId="{63D1AE09-4F57-A443-A1FD-2A3034962097}" destId="{04D949B2-6FA5-4948-B335-DDA85E4E65B1}" srcOrd="1" destOrd="0" presId="urn:microsoft.com/office/officeart/2008/layout/HorizontalMultiLevelHierarchy"/>
    <dgm:cxn modelId="{BE9392B1-006C-9E4E-BCF0-263F1B96A391}" type="presOf" srcId="{73DD7058-02B4-D24C-9D13-AF75375EF8E6}" destId="{12E46C15-0F90-7843-8745-7EFB583D5A38}" srcOrd="1" destOrd="0" presId="urn:microsoft.com/office/officeart/2008/layout/HorizontalMultiLevelHierarchy"/>
    <dgm:cxn modelId="{C1615445-03DB-E240-B9BF-A2A3EC133530}" srcId="{0726F871-37F4-AB40-AF73-6656D7E9C85D}" destId="{BA9C693C-1CF5-6E4E-A8C4-1E304AFD6DF5}" srcOrd="0" destOrd="0" parTransId="{68DA511E-B55E-2344-AE99-CE3989972A8B}" sibTransId="{0F89B6C1-4496-2E4F-A05E-FCD69FF0C56A}"/>
    <dgm:cxn modelId="{03EA0C1A-F523-CB42-A03D-D7F0207C07A8}" type="presOf" srcId="{1333B56B-0FB7-DB46-BFA8-14BA9E09141B}" destId="{9E30CAA0-C8DA-7340-9AC5-F7AFBAE25743}" srcOrd="0" destOrd="0" presId="urn:microsoft.com/office/officeart/2008/layout/HorizontalMultiLevelHierarchy"/>
    <dgm:cxn modelId="{2AA10474-F8BD-A547-8311-407B1585D226}" type="presOf" srcId="{9EB1846C-ABB5-9E44-B030-7BE73C498E59}" destId="{60914178-E972-6747-98A5-9B1042D21399}" srcOrd="0" destOrd="0" presId="urn:microsoft.com/office/officeart/2008/layout/HorizontalMultiLevelHierarchy"/>
    <dgm:cxn modelId="{1A8D9554-D336-E745-AD72-2A3B636CC4C0}" type="presOf" srcId="{90FBF026-5068-6043-A75B-344D047E346D}" destId="{2242491C-75CB-654B-ABCA-74AF8E25B4E8}" srcOrd="0" destOrd="0" presId="urn:microsoft.com/office/officeart/2008/layout/HorizontalMultiLevelHierarchy"/>
    <dgm:cxn modelId="{76E7574E-147C-7143-8832-78E16A5AE1AC}" type="presOf" srcId="{90FBF026-5068-6043-A75B-344D047E346D}" destId="{62990B64-CF79-7146-BF7B-48A759C6E310}" srcOrd="1" destOrd="0" presId="urn:microsoft.com/office/officeart/2008/layout/HorizontalMultiLevelHierarchy"/>
    <dgm:cxn modelId="{48942BBA-67F2-BE4B-8829-46C6F36EBD44}" srcId="{BA9C693C-1CF5-6E4E-A8C4-1E304AFD6DF5}" destId="{80BD7623-DCEC-2448-AB85-7A6B177B6EBB}" srcOrd="8" destOrd="0" parTransId="{B4B50EEB-1538-DF45-B07F-7D0FD83C8ED3}" sibTransId="{CBCE2F7D-0EB9-6C44-91D9-6322F007EA07}"/>
    <dgm:cxn modelId="{D47FDDB4-EFAA-C24C-9CFC-5CC252E68B82}" type="presOf" srcId="{26144DC7-9794-3E4B-BF8F-331E25884D5F}" destId="{921A596F-4B37-494E-B07C-17FD734C6406}" srcOrd="0" destOrd="0" presId="urn:microsoft.com/office/officeart/2008/layout/HorizontalMultiLevelHierarchy"/>
    <dgm:cxn modelId="{D60D6519-AED7-AC49-9037-889FD03FB63D}" srcId="{BA9C693C-1CF5-6E4E-A8C4-1E304AFD6DF5}" destId="{488E1B12-EE7C-9246-8169-00D4E05307C4}" srcOrd="0" destOrd="0" parTransId="{5ADEDBF8-717E-F946-B11E-4CC50D9988C8}" sibTransId="{024BB071-266A-8F4B-8C77-391F1DB2E101}"/>
    <dgm:cxn modelId="{3B13AEF5-8A23-554E-9CE8-3ECFC8ED8412}" type="presOf" srcId="{6577C284-4D20-2C4A-88D4-29EB6FEAC9C2}" destId="{A3F719CD-4C36-CF49-B90F-B8B40A2B29DE}" srcOrd="0" destOrd="0" presId="urn:microsoft.com/office/officeart/2008/layout/HorizontalMultiLevelHierarchy"/>
    <dgm:cxn modelId="{1FF54861-A3A3-AE4C-A422-DBBAA5C648C7}" type="presOf" srcId="{7E0C02E8-17C2-874D-B6DE-8E3A1D3437C9}" destId="{448042B3-2CED-424C-815C-8FD3B3AD8A39}" srcOrd="0" destOrd="0" presId="urn:microsoft.com/office/officeart/2008/layout/HorizontalMultiLevelHierarchy"/>
    <dgm:cxn modelId="{B6BBFA0B-034B-D54E-9903-D97EFB40EB11}" type="presOf" srcId="{134C8002-4160-B046-917F-B9172D6D011E}" destId="{33DDFCA5-CC66-CC45-A430-EDF4DA53BA93}" srcOrd="0" destOrd="0" presId="urn:microsoft.com/office/officeart/2008/layout/HorizontalMultiLevelHierarchy"/>
    <dgm:cxn modelId="{39A0334F-4841-3649-83E8-F33D2E19820F}" srcId="{BA9C693C-1CF5-6E4E-A8C4-1E304AFD6DF5}" destId="{EF2BFDE9-4D1F-3049-B62C-65BE59459C50}" srcOrd="4" destOrd="0" parTransId="{5E2A7D5A-EFB6-9C4F-A960-3D6903C39497}" sibTransId="{273B8D74-18E2-564C-8FAB-91D7E0D3BAAF}"/>
    <dgm:cxn modelId="{5EA1C461-11B2-8745-B714-B51974CE34DF}" type="presOf" srcId="{63D1AE09-4F57-A443-A1FD-2A3034962097}" destId="{B7A5E06F-5B4B-C947-BFA6-C1FA5998CE54}" srcOrd="0" destOrd="0" presId="urn:microsoft.com/office/officeart/2008/layout/HorizontalMultiLevelHierarchy"/>
    <dgm:cxn modelId="{EA34CD41-8BC0-D343-9F67-8462579FF096}" srcId="{BA9C693C-1CF5-6E4E-A8C4-1E304AFD6DF5}" destId="{174F7A28-653D-6F45-9860-935E35504EE1}" srcOrd="7" destOrd="0" parTransId="{9EB1846C-ABB5-9E44-B030-7BE73C498E59}" sibTransId="{4E443D9B-DAB1-E84F-898A-5389BC17C659}"/>
    <dgm:cxn modelId="{01CBF7FF-7348-F84C-9349-BF06EAB9D620}" type="presOf" srcId="{990267CF-EA89-A240-9514-9AFC12BBADEE}" destId="{03DEAF18-EC72-C047-A9B4-C65BE189F02C}" srcOrd="0" destOrd="0" presId="urn:microsoft.com/office/officeart/2008/layout/HorizontalMultiLevelHierarchy"/>
    <dgm:cxn modelId="{7F5E6610-F227-9440-86CD-CDEDEF3F81CC}" type="presOf" srcId="{BBD19103-9913-2A49-AB85-F021773D5328}" destId="{64F502CF-3E90-0B4E-886C-91AB3F51938D}" srcOrd="0" destOrd="0" presId="urn:microsoft.com/office/officeart/2008/layout/HorizontalMultiLevelHierarchy"/>
    <dgm:cxn modelId="{BF33289F-46F8-7145-B103-240AACB6F6B2}" type="presOf" srcId="{EF2BFDE9-4D1F-3049-B62C-65BE59459C50}" destId="{5167760A-1265-4C43-B02A-4A72B3B39F5E}" srcOrd="0" destOrd="0" presId="urn:microsoft.com/office/officeart/2008/layout/HorizontalMultiLevelHierarchy"/>
    <dgm:cxn modelId="{C7D20EEB-91BD-564A-ABDB-5F89B4AB1ECD}" type="presOf" srcId="{5ADEDBF8-717E-F946-B11E-4CC50D9988C8}" destId="{AB33012A-8C54-6245-96E8-E0111C081E33}" srcOrd="1" destOrd="0" presId="urn:microsoft.com/office/officeart/2008/layout/HorizontalMultiLevelHierarchy"/>
    <dgm:cxn modelId="{4ADBFD76-67E7-EB4D-8449-0A55874E2FC5}" srcId="{990267CF-EA89-A240-9514-9AFC12BBADEE}" destId="{7E0C02E8-17C2-874D-B6DE-8E3A1D3437C9}" srcOrd="0" destOrd="0" parTransId="{08733529-A5F0-F14D-8E75-74214329B040}" sibTransId="{6631AAE9-EE0B-4B4C-A8C5-450A5E2E867C}"/>
    <dgm:cxn modelId="{974865BE-3B17-CB41-9B34-EB2DB01A6FBC}" type="presOf" srcId="{5E2A7D5A-EFB6-9C4F-A960-3D6903C39497}" destId="{1442578F-E924-E34F-9FA5-3F4C2CF65BC9}" srcOrd="0" destOrd="0" presId="urn:microsoft.com/office/officeart/2008/layout/HorizontalMultiLevelHierarchy"/>
    <dgm:cxn modelId="{907A10FC-187D-7442-8E20-625289B795E7}" type="presOf" srcId="{B3C905E3-C669-9942-AEC9-21A47474CEB4}" destId="{996189F3-00B3-7D49-A5FC-5430A26FB618}" srcOrd="0" destOrd="0" presId="urn:microsoft.com/office/officeart/2008/layout/HorizontalMultiLevelHierarchy"/>
    <dgm:cxn modelId="{FAAF9EF5-E8D1-BB42-B3D7-B368547F46AC}" type="presOf" srcId="{8B212141-5DD9-384A-A240-561E72DAAF7B}" destId="{21C89BDE-E13D-974B-B17D-6B6CDBB2C8DB}" srcOrd="0" destOrd="0" presId="urn:microsoft.com/office/officeart/2008/layout/HorizontalMultiLevelHierarchy"/>
    <dgm:cxn modelId="{F0C633C5-90F2-BD44-9FF9-219676FD6E6F}" type="presOf" srcId="{9EB1846C-ABB5-9E44-B030-7BE73C498E59}" destId="{03FF4E40-A0E8-E040-A52F-D68379DCC349}" srcOrd="1" destOrd="0" presId="urn:microsoft.com/office/officeart/2008/layout/HorizontalMultiLevelHierarchy"/>
    <dgm:cxn modelId="{7E85DB80-5F2D-0246-8693-2A92B4D4CC14}" type="presOf" srcId="{B4B50EEB-1538-DF45-B07F-7D0FD83C8ED3}" destId="{7C4C248C-9225-884B-A9F0-E626AEAE24C9}" srcOrd="1" destOrd="0" presId="urn:microsoft.com/office/officeart/2008/layout/HorizontalMultiLevelHierarchy"/>
    <dgm:cxn modelId="{F061F063-DDB9-6B47-8080-8D591A51CF52}" type="presOf" srcId="{80BD7623-DCEC-2448-AB85-7A6B177B6EBB}" destId="{73B69BAE-7567-8E4E-A9B2-D2862F6B978E}" srcOrd="0" destOrd="0" presId="urn:microsoft.com/office/officeart/2008/layout/HorizontalMultiLevelHierarchy"/>
    <dgm:cxn modelId="{A2790156-B21B-424B-AE01-8A1B05701DBF}" type="presOf" srcId="{11D7D97A-F1CC-6A49-92BA-1094CF9B8EE3}" destId="{84732D04-01E1-2742-A082-1195BCDCDEC2}" srcOrd="0" destOrd="0" presId="urn:microsoft.com/office/officeart/2008/layout/HorizontalMultiLevelHierarchy"/>
    <dgm:cxn modelId="{FCFC2A64-3AAE-E548-B110-B6A7FD21EFD0}" type="presOf" srcId="{73DD7058-02B4-D24C-9D13-AF75375EF8E6}" destId="{55365CED-83D4-194F-A914-2CFC37CD9B45}" srcOrd="0" destOrd="0" presId="urn:microsoft.com/office/officeart/2008/layout/HorizontalMultiLevelHierarchy"/>
    <dgm:cxn modelId="{EBA4766B-75B8-3C40-8D65-1F1489B27A0C}" type="presOf" srcId="{488E1B12-EE7C-9246-8169-00D4E05307C4}" destId="{5E781A07-1968-A143-88EC-827822313B55}" srcOrd="0" destOrd="0" presId="urn:microsoft.com/office/officeart/2008/layout/HorizontalMultiLevelHierarchy"/>
    <dgm:cxn modelId="{751C79FE-9055-2D49-A548-B8BB7B1C0FAF}" type="presOf" srcId="{07A4D93E-7AFB-4E4D-8384-CFBE7085BD56}" destId="{9D34DFA2-4C7C-5642-ADF0-8F3EDFBC71AF}" srcOrd="1" destOrd="0" presId="urn:microsoft.com/office/officeart/2008/layout/HorizontalMultiLevelHierarchy"/>
    <dgm:cxn modelId="{28B342A4-8E22-E443-828C-04E4C523DB77}" type="presOf" srcId="{BBD19103-9913-2A49-AB85-F021773D5328}" destId="{6FA82A28-C585-714B-9AF5-DA995FB3DF53}" srcOrd="1" destOrd="0" presId="urn:microsoft.com/office/officeart/2008/layout/HorizontalMultiLevelHierarchy"/>
    <dgm:cxn modelId="{C7C2A2BA-C5F5-6F49-A262-0704FB3500DF}" srcId="{80BD7623-DCEC-2448-AB85-7A6B177B6EBB}" destId="{8B212141-5DD9-384A-A240-561E72DAAF7B}" srcOrd="0" destOrd="0" parTransId="{73DD7058-02B4-D24C-9D13-AF75375EF8E6}" sibTransId="{65D360DD-A473-0C44-B475-0A3FC7CF8513}"/>
    <dgm:cxn modelId="{9DC31EAB-42EB-284B-BCB8-97FC291A5643}" type="presOf" srcId="{B8771036-12B2-D843-AA17-BB631BA3F87D}" destId="{F9B786D6-8B73-AC47-BEA7-3780A17C3E39}" srcOrd="0" destOrd="0" presId="urn:microsoft.com/office/officeart/2008/layout/HorizontalMultiLevelHierarchy"/>
    <dgm:cxn modelId="{83B3432C-1D14-AA43-874F-EEE8702F1222}" type="presOf" srcId="{0726F871-37F4-AB40-AF73-6656D7E9C85D}" destId="{613226CB-11A4-C549-82A6-64B9BCFE1002}" srcOrd="0" destOrd="0" presId="urn:microsoft.com/office/officeart/2008/layout/HorizontalMultiLevelHierarchy"/>
    <dgm:cxn modelId="{910FACFD-2E37-714D-8185-ABD782E3B399}" type="presOf" srcId="{08733529-A5F0-F14D-8E75-74214329B040}" destId="{393A7F55-569D-7A48-ACE0-063418018375}" srcOrd="0" destOrd="0" presId="urn:microsoft.com/office/officeart/2008/layout/HorizontalMultiLevelHierarchy"/>
    <dgm:cxn modelId="{56A64D14-E193-874E-9EBD-6402D8090407}" type="presOf" srcId="{07A4D93E-7AFB-4E4D-8384-CFBE7085BD56}" destId="{42308E2A-E89A-524C-8598-CEBE02495F63}" srcOrd="0" destOrd="0" presId="urn:microsoft.com/office/officeart/2008/layout/HorizontalMultiLevelHierarchy"/>
    <dgm:cxn modelId="{2D61F9BB-8233-EE48-B46D-B8DDA9E7540A}" srcId="{BA9C693C-1CF5-6E4E-A8C4-1E304AFD6DF5}" destId="{990267CF-EA89-A240-9514-9AFC12BBADEE}" srcOrd="6" destOrd="0" parTransId="{134C8002-4160-B046-917F-B9172D6D011E}" sibTransId="{C53420FF-ECD5-E44D-9507-00368A34154B}"/>
    <dgm:cxn modelId="{5D35C942-D95F-B948-A3D6-E326E8160297}" type="presOf" srcId="{516F75D9-69F5-0544-995D-CFB72352B59F}" destId="{887F982A-9047-D440-AFAC-0FD9C008886A}" srcOrd="0" destOrd="0" presId="urn:microsoft.com/office/officeart/2008/layout/HorizontalMultiLevelHierarchy"/>
    <dgm:cxn modelId="{C9DE8BC8-044C-2C43-A90D-23F43B8A2558}" srcId="{BA9C693C-1CF5-6E4E-A8C4-1E304AFD6DF5}" destId="{516F75D9-69F5-0544-995D-CFB72352B59F}" srcOrd="2" destOrd="0" parTransId="{07A4D93E-7AFB-4E4D-8384-CFBE7085BD56}" sibTransId="{AAA22F98-61CA-D046-AFEF-94339F6845CD}"/>
    <dgm:cxn modelId="{8C976C34-107A-1F4D-8342-3B16FCDF5EA5}" type="presOf" srcId="{134C8002-4160-B046-917F-B9172D6D011E}" destId="{569810E7-365A-FB48-A979-23DA3465EF4F}" srcOrd="1" destOrd="0" presId="urn:microsoft.com/office/officeart/2008/layout/HorizontalMultiLevelHierarchy"/>
    <dgm:cxn modelId="{49CACEFC-B819-F145-AADC-E2E90D092E97}" type="presOf" srcId="{5E2A7D5A-EFB6-9C4F-A960-3D6903C39497}" destId="{E59B7B1E-3287-FB43-A405-2A84667315EC}" srcOrd="1" destOrd="0" presId="urn:microsoft.com/office/officeart/2008/layout/HorizontalMultiLevelHierarchy"/>
    <dgm:cxn modelId="{8EADE03F-FD19-8943-9641-8EDB79BA1F44}" srcId="{BA9C693C-1CF5-6E4E-A8C4-1E304AFD6DF5}" destId="{26144DC7-9794-3E4B-BF8F-331E25884D5F}" srcOrd="5" destOrd="0" parTransId="{6577C284-4D20-2C4A-88D4-29EB6FEAC9C2}" sibTransId="{107CD2D0-7A83-A340-A318-AE06C14E2999}"/>
    <dgm:cxn modelId="{79C9A684-E37A-634F-93DB-4E7D0FE57D24}" type="presParOf" srcId="{613226CB-11A4-C549-82A6-64B9BCFE1002}" destId="{3BA40406-1E55-1642-A22A-B49F5A173AC8}" srcOrd="0" destOrd="0" presId="urn:microsoft.com/office/officeart/2008/layout/HorizontalMultiLevelHierarchy"/>
    <dgm:cxn modelId="{8EB6C436-3A15-524F-B11C-501B373A4FD9}" type="presParOf" srcId="{3BA40406-1E55-1642-A22A-B49F5A173AC8}" destId="{99E936FD-8649-9640-96D2-9202E1CEC417}" srcOrd="0" destOrd="0" presId="urn:microsoft.com/office/officeart/2008/layout/HorizontalMultiLevelHierarchy"/>
    <dgm:cxn modelId="{B0E907F4-16BD-4247-B48D-E9B1A0F38BAF}" type="presParOf" srcId="{3BA40406-1E55-1642-A22A-B49F5A173AC8}" destId="{598DBB90-9C26-4C4B-AC1C-FF1827BF8D97}" srcOrd="1" destOrd="0" presId="urn:microsoft.com/office/officeart/2008/layout/HorizontalMultiLevelHierarchy"/>
    <dgm:cxn modelId="{F1144370-4686-6D4A-8363-1A97D29AF900}" type="presParOf" srcId="{598DBB90-9C26-4C4B-AC1C-FF1827BF8D97}" destId="{D778007E-9974-2C41-910F-E1E5562B090A}" srcOrd="0" destOrd="0" presId="urn:microsoft.com/office/officeart/2008/layout/HorizontalMultiLevelHierarchy"/>
    <dgm:cxn modelId="{95474110-A6D7-4B42-81B7-51058E6DCD3D}" type="presParOf" srcId="{D778007E-9974-2C41-910F-E1E5562B090A}" destId="{AB33012A-8C54-6245-96E8-E0111C081E33}" srcOrd="0" destOrd="0" presId="urn:microsoft.com/office/officeart/2008/layout/HorizontalMultiLevelHierarchy"/>
    <dgm:cxn modelId="{83555481-4AB9-674D-A2C2-16CC09981DC9}" type="presParOf" srcId="{598DBB90-9C26-4C4B-AC1C-FF1827BF8D97}" destId="{BCA6FE17-8DB6-0242-A6E4-C7D3971EBD97}" srcOrd="1" destOrd="0" presId="urn:microsoft.com/office/officeart/2008/layout/HorizontalMultiLevelHierarchy"/>
    <dgm:cxn modelId="{D1AB6738-7B41-6742-B512-D7291BF51C58}" type="presParOf" srcId="{BCA6FE17-8DB6-0242-A6E4-C7D3971EBD97}" destId="{5E781A07-1968-A143-88EC-827822313B55}" srcOrd="0" destOrd="0" presId="urn:microsoft.com/office/officeart/2008/layout/HorizontalMultiLevelHierarchy"/>
    <dgm:cxn modelId="{828ED272-718B-B241-A892-78B20AF172EB}" type="presParOf" srcId="{BCA6FE17-8DB6-0242-A6E4-C7D3971EBD97}" destId="{BDDED42C-20CE-EF4E-85AA-7830E9428B23}" srcOrd="1" destOrd="0" presId="urn:microsoft.com/office/officeart/2008/layout/HorizontalMultiLevelHierarchy"/>
    <dgm:cxn modelId="{CB7585E3-DBC5-0C4E-BC05-F5F5D7A484C0}" type="presParOf" srcId="{598DBB90-9C26-4C4B-AC1C-FF1827BF8D97}" destId="{B7A5E06F-5B4B-C947-BFA6-C1FA5998CE54}" srcOrd="2" destOrd="0" presId="urn:microsoft.com/office/officeart/2008/layout/HorizontalMultiLevelHierarchy"/>
    <dgm:cxn modelId="{B1D927F8-CD2E-2E43-BDBD-F2CBA52B1BDA}" type="presParOf" srcId="{B7A5E06F-5B4B-C947-BFA6-C1FA5998CE54}" destId="{04D949B2-6FA5-4948-B335-DDA85E4E65B1}" srcOrd="0" destOrd="0" presId="urn:microsoft.com/office/officeart/2008/layout/HorizontalMultiLevelHierarchy"/>
    <dgm:cxn modelId="{80DBA4CB-8439-A24D-993F-DFBDED764E97}" type="presParOf" srcId="{598DBB90-9C26-4C4B-AC1C-FF1827BF8D97}" destId="{5B0B9041-BDB4-7141-9957-0BEAFB33AEFE}" srcOrd="3" destOrd="0" presId="urn:microsoft.com/office/officeart/2008/layout/HorizontalMultiLevelHierarchy"/>
    <dgm:cxn modelId="{733E5AAB-0276-4147-8612-6AE42906F1B1}" type="presParOf" srcId="{5B0B9041-BDB4-7141-9957-0BEAFB33AEFE}" destId="{D35EA19E-870C-2F44-A620-E6B51FB20589}" srcOrd="0" destOrd="0" presId="urn:microsoft.com/office/officeart/2008/layout/HorizontalMultiLevelHierarchy"/>
    <dgm:cxn modelId="{F47067C5-D12D-1640-BEB9-2B2AEBD30794}" type="presParOf" srcId="{5B0B9041-BDB4-7141-9957-0BEAFB33AEFE}" destId="{62348515-9687-1045-ADA1-3184EC8CEC61}" srcOrd="1" destOrd="0" presId="urn:microsoft.com/office/officeart/2008/layout/HorizontalMultiLevelHierarchy"/>
    <dgm:cxn modelId="{F52D8321-5FA6-5B41-83E3-A575D7D7870F}" type="presParOf" srcId="{598DBB90-9C26-4C4B-AC1C-FF1827BF8D97}" destId="{42308E2A-E89A-524C-8598-CEBE02495F63}" srcOrd="4" destOrd="0" presId="urn:microsoft.com/office/officeart/2008/layout/HorizontalMultiLevelHierarchy"/>
    <dgm:cxn modelId="{60EEFC27-FBFC-804A-84C1-C2790374CBCC}" type="presParOf" srcId="{42308E2A-E89A-524C-8598-CEBE02495F63}" destId="{9D34DFA2-4C7C-5642-ADF0-8F3EDFBC71AF}" srcOrd="0" destOrd="0" presId="urn:microsoft.com/office/officeart/2008/layout/HorizontalMultiLevelHierarchy"/>
    <dgm:cxn modelId="{5DF0AF18-0E27-6C42-B101-ADB56C5F69F8}" type="presParOf" srcId="{598DBB90-9C26-4C4B-AC1C-FF1827BF8D97}" destId="{5A37FE29-273D-2F4A-BA74-A981AFDF7035}" srcOrd="5" destOrd="0" presId="urn:microsoft.com/office/officeart/2008/layout/HorizontalMultiLevelHierarchy"/>
    <dgm:cxn modelId="{B0FD58C7-02CE-B342-91D3-80904E8D68FD}" type="presParOf" srcId="{5A37FE29-273D-2F4A-BA74-A981AFDF7035}" destId="{887F982A-9047-D440-AFAC-0FD9C008886A}" srcOrd="0" destOrd="0" presId="urn:microsoft.com/office/officeart/2008/layout/HorizontalMultiLevelHierarchy"/>
    <dgm:cxn modelId="{B4BF7B5B-A35E-AA49-812C-7E7DDD4888DF}" type="presParOf" srcId="{5A37FE29-273D-2F4A-BA74-A981AFDF7035}" destId="{740B7AF0-357F-C843-8A5C-C85C349471AE}" srcOrd="1" destOrd="0" presId="urn:microsoft.com/office/officeart/2008/layout/HorizontalMultiLevelHierarchy"/>
    <dgm:cxn modelId="{A32945FB-4765-2040-BA35-7383578DCCAD}" type="presParOf" srcId="{598DBB90-9C26-4C4B-AC1C-FF1827BF8D97}" destId="{996189F3-00B3-7D49-A5FC-5430A26FB618}" srcOrd="6" destOrd="0" presId="urn:microsoft.com/office/officeart/2008/layout/HorizontalMultiLevelHierarchy"/>
    <dgm:cxn modelId="{212009B8-278A-0C45-A187-6F0B41BDD169}" type="presParOf" srcId="{996189F3-00B3-7D49-A5FC-5430A26FB618}" destId="{DB79995B-B315-9C4C-BCA0-97AF2CF960CD}" srcOrd="0" destOrd="0" presId="urn:microsoft.com/office/officeart/2008/layout/HorizontalMultiLevelHierarchy"/>
    <dgm:cxn modelId="{29E004AA-A922-0F46-9C0A-5D81151532CB}" type="presParOf" srcId="{598DBB90-9C26-4C4B-AC1C-FF1827BF8D97}" destId="{7361FCA1-91C1-7340-94A4-772CB0377746}" srcOrd="7" destOrd="0" presId="urn:microsoft.com/office/officeart/2008/layout/HorizontalMultiLevelHierarchy"/>
    <dgm:cxn modelId="{A4896B6D-83FD-D848-94E8-99C6AC4D40CC}" type="presParOf" srcId="{7361FCA1-91C1-7340-94A4-772CB0377746}" destId="{9E30CAA0-C8DA-7340-9AC5-F7AFBAE25743}" srcOrd="0" destOrd="0" presId="urn:microsoft.com/office/officeart/2008/layout/HorizontalMultiLevelHierarchy"/>
    <dgm:cxn modelId="{171A7AD4-7D31-D840-A2D3-B02F34B6A3FF}" type="presParOf" srcId="{7361FCA1-91C1-7340-94A4-772CB0377746}" destId="{75AE1B1C-8672-CF47-8665-1AE6D32AB23F}" srcOrd="1" destOrd="0" presId="urn:microsoft.com/office/officeart/2008/layout/HorizontalMultiLevelHierarchy"/>
    <dgm:cxn modelId="{5CFBA6D7-380E-D243-8A4C-876320977811}" type="presParOf" srcId="{598DBB90-9C26-4C4B-AC1C-FF1827BF8D97}" destId="{1442578F-E924-E34F-9FA5-3F4C2CF65BC9}" srcOrd="8" destOrd="0" presId="urn:microsoft.com/office/officeart/2008/layout/HorizontalMultiLevelHierarchy"/>
    <dgm:cxn modelId="{23CD11B7-1D92-034F-ADD8-A8C3E76AC4BE}" type="presParOf" srcId="{1442578F-E924-E34F-9FA5-3F4C2CF65BC9}" destId="{E59B7B1E-3287-FB43-A405-2A84667315EC}" srcOrd="0" destOrd="0" presId="urn:microsoft.com/office/officeart/2008/layout/HorizontalMultiLevelHierarchy"/>
    <dgm:cxn modelId="{312D42B7-86E3-1940-B383-01DFF68A7AE4}" type="presParOf" srcId="{598DBB90-9C26-4C4B-AC1C-FF1827BF8D97}" destId="{6188AF91-8F5E-7F4E-A0A2-13FA32167F53}" srcOrd="9" destOrd="0" presId="urn:microsoft.com/office/officeart/2008/layout/HorizontalMultiLevelHierarchy"/>
    <dgm:cxn modelId="{D8939973-14FE-4344-99C5-031496377F52}" type="presParOf" srcId="{6188AF91-8F5E-7F4E-A0A2-13FA32167F53}" destId="{5167760A-1265-4C43-B02A-4A72B3B39F5E}" srcOrd="0" destOrd="0" presId="urn:microsoft.com/office/officeart/2008/layout/HorizontalMultiLevelHierarchy"/>
    <dgm:cxn modelId="{147330D0-335D-8F44-A824-E0FBAFBA58C2}" type="presParOf" srcId="{6188AF91-8F5E-7F4E-A0A2-13FA32167F53}" destId="{21F2C295-F343-AC4A-8BE2-CFD4DAC170AE}" srcOrd="1" destOrd="0" presId="urn:microsoft.com/office/officeart/2008/layout/HorizontalMultiLevelHierarchy"/>
    <dgm:cxn modelId="{F578A7C9-FF1D-3644-9572-23105F353432}" type="presParOf" srcId="{598DBB90-9C26-4C4B-AC1C-FF1827BF8D97}" destId="{A3F719CD-4C36-CF49-B90F-B8B40A2B29DE}" srcOrd="10" destOrd="0" presId="urn:microsoft.com/office/officeart/2008/layout/HorizontalMultiLevelHierarchy"/>
    <dgm:cxn modelId="{7702BCE3-4FC6-124D-9849-2BEAFAFB2BD6}" type="presParOf" srcId="{A3F719CD-4C36-CF49-B90F-B8B40A2B29DE}" destId="{348A166D-A55E-9147-99A1-FB87A4CF61A8}" srcOrd="0" destOrd="0" presId="urn:microsoft.com/office/officeart/2008/layout/HorizontalMultiLevelHierarchy"/>
    <dgm:cxn modelId="{D31B1207-5680-424B-80DE-D9548F9697BC}" type="presParOf" srcId="{598DBB90-9C26-4C4B-AC1C-FF1827BF8D97}" destId="{175E4F2C-D898-EE44-A4E7-79846E237DB4}" srcOrd="11" destOrd="0" presId="urn:microsoft.com/office/officeart/2008/layout/HorizontalMultiLevelHierarchy"/>
    <dgm:cxn modelId="{9FD3B82D-8CEC-F14E-BFC2-E95503C8317C}" type="presParOf" srcId="{175E4F2C-D898-EE44-A4E7-79846E237DB4}" destId="{921A596F-4B37-494E-B07C-17FD734C6406}" srcOrd="0" destOrd="0" presId="urn:microsoft.com/office/officeart/2008/layout/HorizontalMultiLevelHierarchy"/>
    <dgm:cxn modelId="{2C3FC810-B9E9-E143-8EA0-DBA9BFF63576}" type="presParOf" srcId="{175E4F2C-D898-EE44-A4E7-79846E237DB4}" destId="{A9D518F9-DAB2-4E45-9ECB-39AA13A01564}" srcOrd="1" destOrd="0" presId="urn:microsoft.com/office/officeart/2008/layout/HorizontalMultiLevelHierarchy"/>
    <dgm:cxn modelId="{70BA0E1A-3F37-824F-9E37-C8B530B0771C}" type="presParOf" srcId="{598DBB90-9C26-4C4B-AC1C-FF1827BF8D97}" destId="{33DDFCA5-CC66-CC45-A430-EDF4DA53BA93}" srcOrd="12" destOrd="0" presId="urn:microsoft.com/office/officeart/2008/layout/HorizontalMultiLevelHierarchy"/>
    <dgm:cxn modelId="{9FF7B816-0207-C946-895E-4E8F127F442C}" type="presParOf" srcId="{33DDFCA5-CC66-CC45-A430-EDF4DA53BA93}" destId="{569810E7-365A-FB48-A979-23DA3465EF4F}" srcOrd="0" destOrd="0" presId="urn:microsoft.com/office/officeart/2008/layout/HorizontalMultiLevelHierarchy"/>
    <dgm:cxn modelId="{36A7958B-F730-E849-9B10-0A9322E851CD}" type="presParOf" srcId="{598DBB90-9C26-4C4B-AC1C-FF1827BF8D97}" destId="{299D8B01-3ECB-7743-BE59-35C50BD6249A}" srcOrd="13" destOrd="0" presId="urn:microsoft.com/office/officeart/2008/layout/HorizontalMultiLevelHierarchy"/>
    <dgm:cxn modelId="{466A60DE-ABAB-E24D-B69D-53D965A762F9}" type="presParOf" srcId="{299D8B01-3ECB-7743-BE59-35C50BD6249A}" destId="{03DEAF18-EC72-C047-A9B4-C65BE189F02C}" srcOrd="0" destOrd="0" presId="urn:microsoft.com/office/officeart/2008/layout/HorizontalMultiLevelHierarchy"/>
    <dgm:cxn modelId="{4A9FD661-3FF6-E34E-B7B0-5A7AE1EF3F85}" type="presParOf" srcId="{299D8B01-3ECB-7743-BE59-35C50BD6249A}" destId="{322C5A5A-9E25-6047-BB00-4DF750E135CE}" srcOrd="1" destOrd="0" presId="urn:microsoft.com/office/officeart/2008/layout/HorizontalMultiLevelHierarchy"/>
    <dgm:cxn modelId="{D8FB8D39-1206-CD4B-9B71-CCDBFB474975}" type="presParOf" srcId="{322C5A5A-9E25-6047-BB00-4DF750E135CE}" destId="{393A7F55-569D-7A48-ACE0-063418018375}" srcOrd="0" destOrd="0" presId="urn:microsoft.com/office/officeart/2008/layout/HorizontalMultiLevelHierarchy"/>
    <dgm:cxn modelId="{3B381E2E-4A43-3A46-B040-135CBD3B8FC9}" type="presParOf" srcId="{393A7F55-569D-7A48-ACE0-063418018375}" destId="{A635BF91-C219-EB46-A0CA-F8A2CE3D7BF3}" srcOrd="0" destOrd="0" presId="urn:microsoft.com/office/officeart/2008/layout/HorizontalMultiLevelHierarchy"/>
    <dgm:cxn modelId="{0920D4D9-EA7C-1F44-BDC9-E31FE7F7F086}" type="presParOf" srcId="{322C5A5A-9E25-6047-BB00-4DF750E135CE}" destId="{55918953-A6CF-814A-89F9-551623EBC010}" srcOrd="1" destOrd="0" presId="urn:microsoft.com/office/officeart/2008/layout/HorizontalMultiLevelHierarchy"/>
    <dgm:cxn modelId="{8542A259-2593-4E40-BE9C-313857BE6CF7}" type="presParOf" srcId="{55918953-A6CF-814A-89F9-551623EBC010}" destId="{448042B3-2CED-424C-815C-8FD3B3AD8A39}" srcOrd="0" destOrd="0" presId="urn:microsoft.com/office/officeart/2008/layout/HorizontalMultiLevelHierarchy"/>
    <dgm:cxn modelId="{70B5253F-978F-8E4D-A4FF-00935F89FEBF}" type="presParOf" srcId="{55918953-A6CF-814A-89F9-551623EBC010}" destId="{4C59A0B4-1525-104C-AAB2-E79163983336}" srcOrd="1" destOrd="0" presId="urn:microsoft.com/office/officeart/2008/layout/HorizontalMultiLevelHierarchy"/>
    <dgm:cxn modelId="{6956C199-AF6F-C24E-95BD-B8CB620EB3DA}" type="presParOf" srcId="{322C5A5A-9E25-6047-BB00-4DF750E135CE}" destId="{64F502CF-3E90-0B4E-886C-91AB3F51938D}" srcOrd="2" destOrd="0" presId="urn:microsoft.com/office/officeart/2008/layout/HorizontalMultiLevelHierarchy"/>
    <dgm:cxn modelId="{1D9FB8B5-2F87-3944-8A0E-FFCBBF2B0C92}" type="presParOf" srcId="{64F502CF-3E90-0B4E-886C-91AB3F51938D}" destId="{6FA82A28-C585-714B-9AF5-DA995FB3DF53}" srcOrd="0" destOrd="0" presId="urn:microsoft.com/office/officeart/2008/layout/HorizontalMultiLevelHierarchy"/>
    <dgm:cxn modelId="{9F4AD771-174A-BA4E-BE8D-4C4F66CEABC6}" type="presParOf" srcId="{322C5A5A-9E25-6047-BB00-4DF750E135CE}" destId="{EC8B6A62-9FAE-5045-A1A4-029DC2356DF7}" srcOrd="3" destOrd="0" presId="urn:microsoft.com/office/officeart/2008/layout/HorizontalMultiLevelHierarchy"/>
    <dgm:cxn modelId="{944096F5-6A91-6243-A650-30C2B7A080DA}" type="presParOf" srcId="{EC8B6A62-9FAE-5045-A1A4-029DC2356DF7}" destId="{F9B786D6-8B73-AC47-BEA7-3780A17C3E39}" srcOrd="0" destOrd="0" presId="urn:microsoft.com/office/officeart/2008/layout/HorizontalMultiLevelHierarchy"/>
    <dgm:cxn modelId="{BD47DC79-9C6B-7447-AD56-5D23BF1AD277}" type="presParOf" srcId="{EC8B6A62-9FAE-5045-A1A4-029DC2356DF7}" destId="{6E27147E-0C63-E041-AB6B-5C0E60851726}" srcOrd="1" destOrd="0" presId="urn:microsoft.com/office/officeart/2008/layout/HorizontalMultiLevelHierarchy"/>
    <dgm:cxn modelId="{180B00B6-B99A-A244-923B-CBD80601097D}" type="presParOf" srcId="{598DBB90-9C26-4C4B-AC1C-FF1827BF8D97}" destId="{60914178-E972-6747-98A5-9B1042D21399}" srcOrd="14" destOrd="0" presId="urn:microsoft.com/office/officeart/2008/layout/HorizontalMultiLevelHierarchy"/>
    <dgm:cxn modelId="{1BF3CA2D-B10F-1C4D-8A75-D2B66D5A0175}" type="presParOf" srcId="{60914178-E972-6747-98A5-9B1042D21399}" destId="{03FF4E40-A0E8-E040-A52F-D68379DCC349}" srcOrd="0" destOrd="0" presId="urn:microsoft.com/office/officeart/2008/layout/HorizontalMultiLevelHierarchy"/>
    <dgm:cxn modelId="{A8AFBA6F-6074-484D-BC92-A59EC5C3D666}" type="presParOf" srcId="{598DBB90-9C26-4C4B-AC1C-FF1827BF8D97}" destId="{82D22835-936A-1D4B-AF7A-2D86C6FB8621}" srcOrd="15" destOrd="0" presId="urn:microsoft.com/office/officeart/2008/layout/HorizontalMultiLevelHierarchy"/>
    <dgm:cxn modelId="{A256A1FF-6B98-DF4A-AC61-8A820C65B7E8}" type="presParOf" srcId="{82D22835-936A-1D4B-AF7A-2D86C6FB8621}" destId="{4D444EFA-484D-8B49-B53F-73AE5DAC83CB}" srcOrd="0" destOrd="0" presId="urn:microsoft.com/office/officeart/2008/layout/HorizontalMultiLevelHierarchy"/>
    <dgm:cxn modelId="{0E3784D5-E63D-4540-AB24-28C9CD2999BE}" type="presParOf" srcId="{82D22835-936A-1D4B-AF7A-2D86C6FB8621}" destId="{780003EA-E55D-2544-948D-2BA68EB5F8A9}" srcOrd="1" destOrd="0" presId="urn:microsoft.com/office/officeart/2008/layout/HorizontalMultiLevelHierarchy"/>
    <dgm:cxn modelId="{29186112-99DC-0D42-937B-8E6CFA1E353C}" type="presParOf" srcId="{598DBB90-9C26-4C4B-AC1C-FF1827BF8D97}" destId="{91975744-72FE-E947-98E3-ECF3B2E7C3DC}" srcOrd="16" destOrd="0" presId="urn:microsoft.com/office/officeart/2008/layout/HorizontalMultiLevelHierarchy"/>
    <dgm:cxn modelId="{13D4612C-0629-BF40-8A8B-D8AAA1482D92}" type="presParOf" srcId="{91975744-72FE-E947-98E3-ECF3B2E7C3DC}" destId="{7C4C248C-9225-884B-A9F0-E626AEAE24C9}" srcOrd="0" destOrd="0" presId="urn:microsoft.com/office/officeart/2008/layout/HorizontalMultiLevelHierarchy"/>
    <dgm:cxn modelId="{0CB6FA51-F5C0-1049-B163-9F67C4098FCD}" type="presParOf" srcId="{598DBB90-9C26-4C4B-AC1C-FF1827BF8D97}" destId="{FD91877E-03C5-8D41-B768-0E4703294F6C}" srcOrd="17" destOrd="0" presId="urn:microsoft.com/office/officeart/2008/layout/HorizontalMultiLevelHierarchy"/>
    <dgm:cxn modelId="{FD7943D3-D575-744B-82B6-ACED1C2505DF}" type="presParOf" srcId="{FD91877E-03C5-8D41-B768-0E4703294F6C}" destId="{73B69BAE-7567-8E4E-A9B2-D2862F6B978E}" srcOrd="0" destOrd="0" presId="urn:microsoft.com/office/officeart/2008/layout/HorizontalMultiLevelHierarchy"/>
    <dgm:cxn modelId="{30A83B85-799E-CA4E-8282-B648C703A841}" type="presParOf" srcId="{FD91877E-03C5-8D41-B768-0E4703294F6C}" destId="{27C85358-980A-884D-9DDA-63018758070E}" srcOrd="1" destOrd="0" presId="urn:microsoft.com/office/officeart/2008/layout/HorizontalMultiLevelHierarchy"/>
    <dgm:cxn modelId="{421514DA-8A20-0E4D-9208-9E7C9C408214}" type="presParOf" srcId="{27C85358-980A-884D-9DDA-63018758070E}" destId="{55365CED-83D4-194F-A914-2CFC37CD9B45}" srcOrd="0" destOrd="0" presId="urn:microsoft.com/office/officeart/2008/layout/HorizontalMultiLevelHierarchy"/>
    <dgm:cxn modelId="{25BE78C6-B96C-6745-AE29-5B06AE04D5E5}" type="presParOf" srcId="{55365CED-83D4-194F-A914-2CFC37CD9B45}" destId="{12E46C15-0F90-7843-8745-7EFB583D5A38}" srcOrd="0" destOrd="0" presId="urn:microsoft.com/office/officeart/2008/layout/HorizontalMultiLevelHierarchy"/>
    <dgm:cxn modelId="{DF9B98A1-6C39-294A-9ADA-3FED88E46E50}" type="presParOf" srcId="{27C85358-980A-884D-9DDA-63018758070E}" destId="{76889E03-95A4-234A-BE0C-87E6CEF02D37}" srcOrd="1" destOrd="0" presId="urn:microsoft.com/office/officeart/2008/layout/HorizontalMultiLevelHierarchy"/>
    <dgm:cxn modelId="{ECE2C0E5-4EE4-934F-BE73-86C436E42419}" type="presParOf" srcId="{76889E03-95A4-234A-BE0C-87E6CEF02D37}" destId="{21C89BDE-E13D-974B-B17D-6B6CDBB2C8DB}" srcOrd="0" destOrd="0" presId="urn:microsoft.com/office/officeart/2008/layout/HorizontalMultiLevelHierarchy"/>
    <dgm:cxn modelId="{055BADBD-8429-8D40-9967-12482EF23683}" type="presParOf" srcId="{76889E03-95A4-234A-BE0C-87E6CEF02D37}" destId="{FB25556A-79E0-D042-8EE4-421CC8CFEFD5}" srcOrd="1" destOrd="0" presId="urn:microsoft.com/office/officeart/2008/layout/HorizontalMultiLevelHierarchy"/>
    <dgm:cxn modelId="{1948AA19-06F9-1C49-A825-730064E1E712}" type="presParOf" srcId="{27C85358-980A-884D-9DDA-63018758070E}" destId="{2242491C-75CB-654B-ABCA-74AF8E25B4E8}" srcOrd="2" destOrd="0" presId="urn:microsoft.com/office/officeart/2008/layout/HorizontalMultiLevelHierarchy"/>
    <dgm:cxn modelId="{CD5321C4-CEE4-6844-B694-AFCED8BAF668}" type="presParOf" srcId="{2242491C-75CB-654B-ABCA-74AF8E25B4E8}" destId="{62990B64-CF79-7146-BF7B-48A759C6E310}" srcOrd="0" destOrd="0" presId="urn:microsoft.com/office/officeart/2008/layout/HorizontalMultiLevelHierarchy"/>
    <dgm:cxn modelId="{61E636DE-2F1A-0A45-93B7-E52AE8B7295A}" type="presParOf" srcId="{27C85358-980A-884D-9DDA-63018758070E}" destId="{34BC8C0B-A669-9B42-82AD-78E158ADEE5B}" srcOrd="3" destOrd="0" presId="urn:microsoft.com/office/officeart/2008/layout/HorizontalMultiLevelHierarchy"/>
    <dgm:cxn modelId="{F273A2BD-0AA0-4544-BEE6-3F53A0A2954E}" type="presParOf" srcId="{34BC8C0B-A669-9B42-82AD-78E158ADEE5B}" destId="{84732D04-01E1-2742-A082-1195BCDCDEC2}" srcOrd="0" destOrd="0" presId="urn:microsoft.com/office/officeart/2008/layout/HorizontalMultiLevelHierarchy"/>
    <dgm:cxn modelId="{CDFBE5D0-A4E3-CA42-B218-B9A555F70514}" type="presParOf" srcId="{34BC8C0B-A669-9B42-82AD-78E158ADEE5B}" destId="{84690BE0-04A2-9D4D-99E9-6A309CCF16E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169" y="422350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160" y="4339533"/>
        <a:ext cx="18350" cy="18350"/>
      </dsp:txXfrm>
    </dsp:sp>
    <dsp:sp modelId="{55365CED-83D4-194F-A914-2CFC37CD9B45}">
      <dsp:nvSpPr>
        <dsp:cNvPr id="0" name=""/>
        <dsp:cNvSpPr/>
      </dsp:nvSpPr>
      <dsp:spPr>
        <a:xfrm>
          <a:off x="2112169" y="3967857"/>
          <a:ext cx="268332" cy="255651"/>
        </a:xfrm>
        <a:custGeom>
          <a:avLst/>
          <a:gdLst/>
          <a:ahLst/>
          <a:cxnLst/>
          <a:rect l="0" t="0" r="0" b="0"/>
          <a:pathLst>
            <a:path>
              <a:moveTo>
                <a:pt x="0" y="255651"/>
              </a:moveTo>
              <a:lnTo>
                <a:pt x="134166" y="25565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7070" y="4086417"/>
        <a:ext cx="18531" cy="18531"/>
      </dsp:txXfrm>
    </dsp:sp>
    <dsp:sp modelId="{91975744-72FE-E947-98E3-ECF3B2E7C3DC}">
      <dsp:nvSpPr>
        <dsp:cNvPr id="0" name=""/>
        <dsp:cNvSpPr/>
      </dsp:nvSpPr>
      <dsp:spPr>
        <a:xfrm>
          <a:off x="503304" y="2212434"/>
          <a:ext cx="268332" cy="20110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011074"/>
              </a:lnTo>
              <a:lnTo>
                <a:pt x="268332" y="201107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748" y="3167249"/>
        <a:ext cx="101444" cy="101444"/>
      </dsp:txXfrm>
    </dsp:sp>
    <dsp:sp modelId="{60914178-E972-6747-98A5-9B1042D21399}">
      <dsp:nvSpPr>
        <dsp:cNvPr id="0" name=""/>
        <dsp:cNvSpPr/>
      </dsp:nvSpPr>
      <dsp:spPr>
        <a:xfrm>
          <a:off x="503304" y="2212434"/>
          <a:ext cx="268332" cy="15050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505023"/>
              </a:lnTo>
              <a:lnTo>
                <a:pt x="268332" y="150502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251" y="2926727"/>
        <a:ext cx="76437" cy="76437"/>
      </dsp:txXfrm>
    </dsp:sp>
    <dsp:sp modelId="{64F502CF-3E90-0B4E-886C-91AB3F51938D}">
      <dsp:nvSpPr>
        <dsp:cNvPr id="0" name=""/>
        <dsp:cNvSpPr/>
      </dsp:nvSpPr>
      <dsp:spPr>
        <a:xfrm>
          <a:off x="2112169" y="32166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250399"/>
              </a:lnTo>
              <a:lnTo>
                <a:pt x="268332" y="25039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332682"/>
        <a:ext cx="18350" cy="18350"/>
      </dsp:txXfrm>
    </dsp:sp>
    <dsp:sp modelId="{393A7F55-569D-7A48-ACE0-063418018375}">
      <dsp:nvSpPr>
        <dsp:cNvPr id="0" name=""/>
        <dsp:cNvSpPr/>
      </dsp:nvSpPr>
      <dsp:spPr>
        <a:xfrm>
          <a:off x="2112169" y="2966258"/>
          <a:ext cx="268332" cy="250399"/>
        </a:xfrm>
        <a:custGeom>
          <a:avLst/>
          <a:gdLst/>
          <a:ahLst/>
          <a:cxnLst/>
          <a:rect l="0" t="0" r="0" b="0"/>
          <a:pathLst>
            <a:path>
              <a:moveTo>
                <a:pt x="0" y="250399"/>
              </a:moveTo>
              <a:lnTo>
                <a:pt x="134166" y="250399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7160" y="3082283"/>
        <a:ext cx="18350" cy="18350"/>
      </dsp:txXfrm>
    </dsp:sp>
    <dsp:sp modelId="{33DDFCA5-CC66-CC45-A430-EDF4DA53BA93}">
      <dsp:nvSpPr>
        <dsp:cNvPr id="0" name=""/>
        <dsp:cNvSpPr/>
      </dsp:nvSpPr>
      <dsp:spPr>
        <a:xfrm>
          <a:off x="503304" y="2212434"/>
          <a:ext cx="268332" cy="1004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1004224"/>
              </a:lnTo>
              <a:lnTo>
                <a:pt x="268332" y="1004224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1484" y="2688559"/>
        <a:ext cx="51972" cy="51972"/>
      </dsp:txXfrm>
    </dsp:sp>
    <dsp:sp modelId="{A3F719CD-4C36-CF49-B90F-B8B40A2B29DE}">
      <dsp:nvSpPr>
        <dsp:cNvPr id="0" name=""/>
        <dsp:cNvSpPr/>
      </dsp:nvSpPr>
      <dsp:spPr>
        <a:xfrm>
          <a:off x="503304" y="2212434"/>
          <a:ext cx="268332" cy="503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166" y="0"/>
              </a:lnTo>
              <a:lnTo>
                <a:pt x="134166" y="503425"/>
              </a:lnTo>
              <a:lnTo>
                <a:pt x="268332" y="50342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3208" y="2449884"/>
        <a:ext cx="28523" cy="28523"/>
      </dsp:txXfrm>
    </dsp:sp>
    <dsp:sp modelId="{1442578F-E924-E34F-9FA5-3F4C2CF65BC9}">
      <dsp:nvSpPr>
        <dsp:cNvPr id="0" name=""/>
        <dsp:cNvSpPr/>
      </dsp:nvSpPr>
      <dsp:spPr>
        <a:xfrm>
          <a:off x="503304" y="2166714"/>
          <a:ext cx="26833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34166" y="45720"/>
              </a:lnTo>
              <a:lnTo>
                <a:pt x="134166" y="48346"/>
              </a:lnTo>
              <a:lnTo>
                <a:pt x="268332" y="4834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30762" y="2205725"/>
        <a:ext cx="13417" cy="13417"/>
      </dsp:txXfrm>
    </dsp:sp>
    <dsp:sp modelId="{996189F3-00B3-7D49-A5FC-5430A26FB618}">
      <dsp:nvSpPr>
        <dsp:cNvPr id="0" name=""/>
        <dsp:cNvSpPr/>
      </dsp:nvSpPr>
      <dsp:spPr>
        <a:xfrm>
          <a:off x="503304" y="1714261"/>
          <a:ext cx="268332" cy="498173"/>
        </a:xfrm>
        <a:custGeom>
          <a:avLst/>
          <a:gdLst/>
          <a:ahLst/>
          <a:cxnLst/>
          <a:rect l="0" t="0" r="0" b="0"/>
          <a:pathLst>
            <a:path>
              <a:moveTo>
                <a:pt x="0" y="498173"/>
              </a:moveTo>
              <a:lnTo>
                <a:pt x="134166" y="498173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23324" y="1949201"/>
        <a:ext cx="28292" cy="28292"/>
      </dsp:txXfrm>
    </dsp:sp>
    <dsp:sp modelId="{42308E2A-E89A-524C-8598-CEBE02495F63}">
      <dsp:nvSpPr>
        <dsp:cNvPr id="0" name=""/>
        <dsp:cNvSpPr/>
      </dsp:nvSpPr>
      <dsp:spPr>
        <a:xfrm>
          <a:off x="503304" y="1213461"/>
          <a:ext cx="268332" cy="998972"/>
        </a:xfrm>
        <a:custGeom>
          <a:avLst/>
          <a:gdLst/>
          <a:ahLst/>
          <a:cxnLst/>
          <a:rect l="0" t="0" r="0" b="0"/>
          <a:pathLst>
            <a:path>
              <a:moveTo>
                <a:pt x="0" y="998972"/>
              </a:moveTo>
              <a:lnTo>
                <a:pt x="134166" y="99897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1611" y="1687088"/>
        <a:ext cx="51719" cy="51719"/>
      </dsp:txXfrm>
    </dsp:sp>
    <dsp:sp modelId="{B7A5E06F-5B4B-C947-BFA6-C1FA5998CE54}">
      <dsp:nvSpPr>
        <dsp:cNvPr id="0" name=""/>
        <dsp:cNvSpPr/>
      </dsp:nvSpPr>
      <dsp:spPr>
        <a:xfrm>
          <a:off x="503304" y="712662"/>
          <a:ext cx="268332" cy="1499771"/>
        </a:xfrm>
        <a:custGeom>
          <a:avLst/>
          <a:gdLst/>
          <a:ahLst/>
          <a:cxnLst/>
          <a:rect l="0" t="0" r="0" b="0"/>
          <a:pathLst>
            <a:path>
              <a:moveTo>
                <a:pt x="0" y="1499771"/>
              </a:moveTo>
              <a:lnTo>
                <a:pt x="134166" y="1499771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9381" y="1424458"/>
        <a:ext cx="76179" cy="76179"/>
      </dsp:txXfrm>
    </dsp:sp>
    <dsp:sp modelId="{15C87296-B9AA-FA44-B9DD-76C5EA163456}">
      <dsp:nvSpPr>
        <dsp:cNvPr id="0" name=""/>
        <dsp:cNvSpPr/>
      </dsp:nvSpPr>
      <dsp:spPr>
        <a:xfrm>
          <a:off x="503304" y="206611"/>
          <a:ext cx="268332" cy="2005822"/>
        </a:xfrm>
        <a:custGeom>
          <a:avLst/>
          <a:gdLst/>
          <a:ahLst/>
          <a:cxnLst/>
          <a:rect l="0" t="0" r="0" b="0"/>
          <a:pathLst>
            <a:path>
              <a:moveTo>
                <a:pt x="0" y="2005822"/>
              </a:moveTo>
              <a:lnTo>
                <a:pt x="134166" y="2005822"/>
              </a:lnTo>
              <a:lnTo>
                <a:pt x="134166" y="0"/>
              </a:lnTo>
              <a:lnTo>
                <a:pt x="268332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6878" y="1158930"/>
        <a:ext cx="101184" cy="101184"/>
      </dsp:txXfrm>
    </dsp:sp>
    <dsp:sp modelId="{99E936FD-8649-9640-96D2-9202E1CEC417}">
      <dsp:nvSpPr>
        <dsp:cNvPr id="0" name=""/>
        <dsp:cNvSpPr/>
      </dsp:nvSpPr>
      <dsp:spPr>
        <a:xfrm rot="16200000">
          <a:off x="-777644" y="2007912"/>
          <a:ext cx="2152856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77644" y="2007912"/>
        <a:ext cx="2152856" cy="409042"/>
      </dsp:txXfrm>
    </dsp:sp>
    <dsp:sp modelId="{B5785E35-B8B8-3A42-9FBC-0F4531D4B61C}">
      <dsp:nvSpPr>
        <dsp:cNvPr id="0" name=""/>
        <dsp:cNvSpPr/>
      </dsp:nvSpPr>
      <dsp:spPr>
        <a:xfrm>
          <a:off x="771636" y="2090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71636" y="2090"/>
        <a:ext cx="1341660" cy="409042"/>
      </dsp:txXfrm>
    </dsp:sp>
    <dsp:sp modelId="{D35EA19E-870C-2F44-A620-E6B51FB20589}">
      <dsp:nvSpPr>
        <dsp:cNvPr id="0" name=""/>
        <dsp:cNvSpPr/>
      </dsp:nvSpPr>
      <dsp:spPr>
        <a:xfrm>
          <a:off x="771636" y="513393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513393"/>
        <a:ext cx="1340533" cy="398538"/>
      </dsp:txXfrm>
    </dsp:sp>
    <dsp:sp modelId="{887F982A-9047-D440-AFAC-0FD9C008886A}">
      <dsp:nvSpPr>
        <dsp:cNvPr id="0" name=""/>
        <dsp:cNvSpPr/>
      </dsp:nvSpPr>
      <dsp:spPr>
        <a:xfrm>
          <a:off x="771636" y="1014192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1014192"/>
        <a:ext cx="1340533" cy="398538"/>
      </dsp:txXfrm>
    </dsp:sp>
    <dsp:sp modelId="{9E30CAA0-C8DA-7340-9AC5-F7AFBAE25743}">
      <dsp:nvSpPr>
        <dsp:cNvPr id="0" name=""/>
        <dsp:cNvSpPr/>
      </dsp:nvSpPr>
      <dsp:spPr>
        <a:xfrm>
          <a:off x="771636" y="1514991"/>
          <a:ext cx="1340533" cy="398538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71636" y="1514991"/>
        <a:ext cx="1340533" cy="398538"/>
      </dsp:txXfrm>
    </dsp:sp>
    <dsp:sp modelId="{5167760A-1265-4C43-B02A-4A72B3B39F5E}">
      <dsp:nvSpPr>
        <dsp:cNvPr id="0" name=""/>
        <dsp:cNvSpPr/>
      </dsp:nvSpPr>
      <dsp:spPr>
        <a:xfrm>
          <a:off x="771636" y="20157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71636" y="2015790"/>
        <a:ext cx="1340533" cy="398538"/>
      </dsp:txXfrm>
    </dsp:sp>
    <dsp:sp modelId="{921A596F-4B37-494E-B07C-17FD734C6406}">
      <dsp:nvSpPr>
        <dsp:cNvPr id="0" name=""/>
        <dsp:cNvSpPr/>
      </dsp:nvSpPr>
      <dsp:spPr>
        <a:xfrm>
          <a:off x="771636" y="2516590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71636" y="2516590"/>
        <a:ext cx="1340533" cy="398538"/>
      </dsp:txXfrm>
    </dsp:sp>
    <dsp:sp modelId="{03DEAF18-EC72-C047-A9B4-C65BE189F02C}">
      <dsp:nvSpPr>
        <dsp:cNvPr id="0" name=""/>
        <dsp:cNvSpPr/>
      </dsp:nvSpPr>
      <dsp:spPr>
        <a:xfrm>
          <a:off x="771636" y="30173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3017389"/>
        <a:ext cx="1340533" cy="398538"/>
      </dsp:txXfrm>
    </dsp:sp>
    <dsp:sp modelId="{448042B3-2CED-424C-815C-8FD3B3AD8A39}">
      <dsp:nvSpPr>
        <dsp:cNvPr id="0" name=""/>
        <dsp:cNvSpPr/>
      </dsp:nvSpPr>
      <dsp:spPr>
        <a:xfrm>
          <a:off x="2380501" y="276698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0501" y="2766989"/>
        <a:ext cx="1340533" cy="398538"/>
      </dsp:txXfrm>
    </dsp:sp>
    <dsp:sp modelId="{F9B786D6-8B73-AC47-BEA7-3780A17C3E39}">
      <dsp:nvSpPr>
        <dsp:cNvPr id="0" name=""/>
        <dsp:cNvSpPr/>
      </dsp:nvSpPr>
      <dsp:spPr>
        <a:xfrm>
          <a:off x="2380501" y="32677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0501" y="3267788"/>
        <a:ext cx="1340533" cy="398538"/>
      </dsp:txXfrm>
    </dsp:sp>
    <dsp:sp modelId="{4D444EFA-484D-8B49-B53F-73AE5DAC83CB}">
      <dsp:nvSpPr>
        <dsp:cNvPr id="0" name=""/>
        <dsp:cNvSpPr/>
      </dsp:nvSpPr>
      <dsp:spPr>
        <a:xfrm>
          <a:off x="771636" y="35181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71636" y="3518188"/>
        <a:ext cx="1340533" cy="398538"/>
      </dsp:txXfrm>
    </dsp:sp>
    <dsp:sp modelId="{73B69BAE-7567-8E4E-A9B2-D2862F6B978E}">
      <dsp:nvSpPr>
        <dsp:cNvPr id="0" name=""/>
        <dsp:cNvSpPr/>
      </dsp:nvSpPr>
      <dsp:spPr>
        <a:xfrm>
          <a:off x="771636" y="4024239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71636" y="4024239"/>
        <a:ext cx="1340533" cy="398538"/>
      </dsp:txXfrm>
    </dsp:sp>
    <dsp:sp modelId="{21C89BDE-E13D-974B-B17D-6B6CDBB2C8DB}">
      <dsp:nvSpPr>
        <dsp:cNvPr id="0" name=""/>
        <dsp:cNvSpPr/>
      </dsp:nvSpPr>
      <dsp:spPr>
        <a:xfrm>
          <a:off x="2380501" y="3768588"/>
          <a:ext cx="1340533" cy="398538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0501" y="3768588"/>
        <a:ext cx="1340533" cy="398538"/>
      </dsp:txXfrm>
    </dsp:sp>
    <dsp:sp modelId="{84732D04-01E1-2742-A082-1195BCDCDEC2}">
      <dsp:nvSpPr>
        <dsp:cNvPr id="0" name=""/>
        <dsp:cNvSpPr/>
      </dsp:nvSpPr>
      <dsp:spPr>
        <a:xfrm>
          <a:off x="2380501" y="4269387"/>
          <a:ext cx="1341660" cy="409042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0501" y="4269387"/>
        <a:ext cx="1341660" cy="40904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solidFill>
          <a:srgbClr val="40404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178-E972-6747-98A5-9B1042D21399}">
      <dsp:nvSpPr>
        <dsp:cNvPr id="0" name=""/>
        <dsp:cNvSpPr/>
      </dsp:nvSpPr>
      <dsp:spPr>
        <a:xfrm>
          <a:off x="392020" y="2221859"/>
          <a:ext cx="333620" cy="16384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638406"/>
              </a:lnTo>
              <a:lnTo>
                <a:pt x="333620" y="16384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7029" y="2999262"/>
        <a:ext cx="83601" cy="83601"/>
      </dsp:txXfrm>
    </dsp:sp>
    <dsp:sp modelId="{64F502CF-3E90-0B4E-886C-91AB3F51938D}">
      <dsp:nvSpPr>
        <dsp:cNvPr id="0" name=""/>
        <dsp:cNvSpPr/>
      </dsp:nvSpPr>
      <dsp:spPr>
        <a:xfrm>
          <a:off x="2176188" y="325516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302549"/>
              </a:lnTo>
              <a:lnTo>
                <a:pt x="333620" y="302549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395182"/>
        <a:ext cx="22518" cy="22518"/>
      </dsp:txXfrm>
    </dsp:sp>
    <dsp:sp modelId="{393A7F55-569D-7A48-ACE0-063418018375}">
      <dsp:nvSpPr>
        <dsp:cNvPr id="0" name=""/>
        <dsp:cNvSpPr/>
      </dsp:nvSpPr>
      <dsp:spPr>
        <a:xfrm>
          <a:off x="2176188" y="2952617"/>
          <a:ext cx="333620" cy="302549"/>
        </a:xfrm>
        <a:custGeom>
          <a:avLst/>
          <a:gdLst/>
          <a:ahLst/>
          <a:cxnLst/>
          <a:rect l="0" t="0" r="0" b="0"/>
          <a:pathLst>
            <a:path>
              <a:moveTo>
                <a:pt x="0" y="302549"/>
              </a:moveTo>
              <a:lnTo>
                <a:pt x="166810" y="302549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1739" y="3092633"/>
        <a:ext cx="22518" cy="22518"/>
      </dsp:txXfrm>
    </dsp:sp>
    <dsp:sp modelId="{33DDFCA5-CC66-CC45-A430-EDF4DA53BA93}">
      <dsp:nvSpPr>
        <dsp:cNvPr id="0" name=""/>
        <dsp:cNvSpPr/>
      </dsp:nvSpPr>
      <dsp:spPr>
        <a:xfrm>
          <a:off x="392020" y="2221859"/>
          <a:ext cx="333620" cy="1033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033307"/>
              </a:lnTo>
              <a:lnTo>
                <a:pt x="333620" y="1033307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1684" y="2711367"/>
        <a:ext cx="54291" cy="54291"/>
      </dsp:txXfrm>
    </dsp:sp>
    <dsp:sp modelId="{8AD8F429-D3CB-F748-A62E-81D3E0DD1FE1}">
      <dsp:nvSpPr>
        <dsp:cNvPr id="0" name=""/>
        <dsp:cNvSpPr/>
      </dsp:nvSpPr>
      <dsp:spPr>
        <a:xfrm>
          <a:off x="2176188" y="2301798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2339178"/>
        <a:ext cx="16681" cy="16681"/>
      </dsp:txXfrm>
    </dsp:sp>
    <dsp:sp modelId="{A3F719CD-4C36-CF49-B90F-B8B40A2B29DE}">
      <dsp:nvSpPr>
        <dsp:cNvPr id="0" name=""/>
        <dsp:cNvSpPr/>
      </dsp:nvSpPr>
      <dsp:spPr>
        <a:xfrm>
          <a:off x="392020" y="2221859"/>
          <a:ext cx="333620" cy="1256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125658"/>
              </a:lnTo>
              <a:lnTo>
                <a:pt x="333620" y="125658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9917" y="2275776"/>
        <a:ext cx="17825" cy="17825"/>
      </dsp:txXfrm>
    </dsp:sp>
    <dsp:sp modelId="{1442578F-E924-E34F-9FA5-3F4C2CF65BC9}">
      <dsp:nvSpPr>
        <dsp:cNvPr id="0" name=""/>
        <dsp:cNvSpPr/>
      </dsp:nvSpPr>
      <dsp:spPr>
        <a:xfrm>
          <a:off x="392020" y="1742419"/>
          <a:ext cx="333620" cy="479440"/>
        </a:xfrm>
        <a:custGeom>
          <a:avLst/>
          <a:gdLst/>
          <a:ahLst/>
          <a:cxnLst/>
          <a:rect l="0" t="0" r="0" b="0"/>
          <a:pathLst>
            <a:path>
              <a:moveTo>
                <a:pt x="0" y="479440"/>
              </a:moveTo>
              <a:lnTo>
                <a:pt x="166810" y="479440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44228" y="1967537"/>
        <a:ext cx="29204" cy="29204"/>
      </dsp:txXfrm>
    </dsp:sp>
    <dsp:sp modelId="{6D977B4C-E88D-6044-A647-A6CC29747BE1}">
      <dsp:nvSpPr>
        <dsp:cNvPr id="0" name=""/>
        <dsp:cNvSpPr/>
      </dsp:nvSpPr>
      <dsp:spPr>
        <a:xfrm>
          <a:off x="2176188" y="1137320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6810" y="0"/>
              </a:lnTo>
              <a:lnTo>
                <a:pt x="166810" y="605098"/>
              </a:lnTo>
              <a:lnTo>
                <a:pt x="333620" y="605098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1422595"/>
        <a:ext cx="34548" cy="34548"/>
      </dsp:txXfrm>
    </dsp:sp>
    <dsp:sp modelId="{2C1F9B08-4495-8146-8974-2654E99B2E9A}">
      <dsp:nvSpPr>
        <dsp:cNvPr id="0" name=""/>
        <dsp:cNvSpPr/>
      </dsp:nvSpPr>
      <dsp:spPr>
        <a:xfrm>
          <a:off x="2176188" y="1091600"/>
          <a:ext cx="33362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33620" y="4572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34658" y="1128980"/>
        <a:ext cx="16681" cy="16681"/>
      </dsp:txXfrm>
    </dsp:sp>
    <dsp:sp modelId="{B541F6A1-B2AA-7447-8E11-AC7AA5D5D50B}">
      <dsp:nvSpPr>
        <dsp:cNvPr id="0" name=""/>
        <dsp:cNvSpPr/>
      </dsp:nvSpPr>
      <dsp:spPr>
        <a:xfrm>
          <a:off x="2176188" y="532221"/>
          <a:ext cx="333620" cy="605098"/>
        </a:xfrm>
        <a:custGeom>
          <a:avLst/>
          <a:gdLst/>
          <a:ahLst/>
          <a:cxnLst/>
          <a:rect l="0" t="0" r="0" b="0"/>
          <a:pathLst>
            <a:path>
              <a:moveTo>
                <a:pt x="0" y="605098"/>
              </a:moveTo>
              <a:lnTo>
                <a:pt x="166810" y="60509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325724" y="817496"/>
        <a:ext cx="34548" cy="34548"/>
      </dsp:txXfrm>
    </dsp:sp>
    <dsp:sp modelId="{B7A5E06F-5B4B-C947-BFA6-C1FA5998CE54}">
      <dsp:nvSpPr>
        <dsp:cNvPr id="0" name=""/>
        <dsp:cNvSpPr/>
      </dsp:nvSpPr>
      <dsp:spPr>
        <a:xfrm>
          <a:off x="392020" y="1137320"/>
          <a:ext cx="333620" cy="1084538"/>
        </a:xfrm>
        <a:custGeom>
          <a:avLst/>
          <a:gdLst/>
          <a:ahLst/>
          <a:cxnLst/>
          <a:rect l="0" t="0" r="0" b="0"/>
          <a:pathLst>
            <a:path>
              <a:moveTo>
                <a:pt x="0" y="1084538"/>
              </a:moveTo>
              <a:lnTo>
                <a:pt x="166810" y="1084538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30463" y="1651222"/>
        <a:ext cx="56734" cy="56734"/>
      </dsp:txXfrm>
    </dsp:sp>
    <dsp:sp modelId="{D778007E-9974-2C41-910F-E1E5562B090A}">
      <dsp:nvSpPr>
        <dsp:cNvPr id="0" name=""/>
        <dsp:cNvSpPr/>
      </dsp:nvSpPr>
      <dsp:spPr>
        <a:xfrm>
          <a:off x="392020" y="532221"/>
          <a:ext cx="333620" cy="1689637"/>
        </a:xfrm>
        <a:custGeom>
          <a:avLst/>
          <a:gdLst/>
          <a:ahLst/>
          <a:cxnLst/>
          <a:rect l="0" t="0" r="0" b="0"/>
          <a:pathLst>
            <a:path>
              <a:moveTo>
                <a:pt x="0" y="1689637"/>
              </a:moveTo>
              <a:lnTo>
                <a:pt x="166810" y="1689637"/>
              </a:lnTo>
              <a:lnTo>
                <a:pt x="166810" y="0"/>
              </a:lnTo>
              <a:lnTo>
                <a:pt x="333620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15773" y="1333984"/>
        <a:ext cx="86112" cy="86112"/>
      </dsp:txXfrm>
    </dsp:sp>
    <dsp:sp modelId="{99E936FD-8649-9640-96D2-9202E1CEC417}">
      <dsp:nvSpPr>
        <dsp:cNvPr id="0" name=""/>
        <dsp:cNvSpPr/>
      </dsp:nvSpPr>
      <dsp:spPr>
        <a:xfrm rot="16200000">
          <a:off x="-945683" y="2025890"/>
          <a:ext cx="2283469" cy="39193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ook</a:t>
          </a:r>
          <a:endParaRPr lang="de-DE" sz="1800" kern="1200" dirty="0"/>
        </a:p>
      </dsp:txBody>
      <dsp:txXfrm>
        <a:off x="-945683" y="2025890"/>
        <a:ext cx="2283469" cy="391937"/>
      </dsp:txXfrm>
    </dsp:sp>
    <dsp:sp modelId="{5E781A07-1968-A143-88EC-827822313B55}">
      <dsp:nvSpPr>
        <dsp:cNvPr id="0" name=""/>
        <dsp:cNvSpPr/>
      </dsp:nvSpPr>
      <dsp:spPr>
        <a:xfrm>
          <a:off x="725640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25640" y="293243"/>
        <a:ext cx="1450548" cy="477957"/>
      </dsp:txXfrm>
    </dsp:sp>
    <dsp:sp modelId="{D35EA19E-870C-2F44-A620-E6B51FB20589}">
      <dsp:nvSpPr>
        <dsp:cNvPr id="0" name=""/>
        <dsp:cNvSpPr/>
      </dsp:nvSpPr>
      <dsp:spPr>
        <a:xfrm>
          <a:off x="725640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Author</a:t>
          </a:r>
          <a:r>
            <a:rPr lang="de-DE" sz="1050" kern="1200" dirty="0" smtClean="0"/>
            <a:t>[1]</a:t>
          </a:r>
          <a:endParaRPr lang="de-DE" sz="1050" kern="1200" dirty="0"/>
        </a:p>
      </dsp:txBody>
      <dsp:txXfrm>
        <a:off x="725640" y="898342"/>
        <a:ext cx="1450548" cy="477957"/>
      </dsp:txXfrm>
    </dsp:sp>
    <dsp:sp modelId="{9FB8B136-71A7-D34F-B7EB-BD8FC5C96ECE}">
      <dsp:nvSpPr>
        <dsp:cNvPr id="0" name=""/>
        <dsp:cNvSpPr/>
      </dsp:nvSpPr>
      <dsp:spPr>
        <a:xfrm>
          <a:off x="2509809" y="293243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293243"/>
        <a:ext cx="1450548" cy="477957"/>
      </dsp:txXfrm>
    </dsp:sp>
    <dsp:sp modelId="{4E546A01-1907-BB4F-B534-4E81DE6081F4}">
      <dsp:nvSpPr>
        <dsp:cNvPr id="0" name=""/>
        <dsp:cNvSpPr/>
      </dsp:nvSpPr>
      <dsp:spPr>
        <a:xfrm>
          <a:off x="2509809" y="898342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2509809" y="898342"/>
        <a:ext cx="1450548" cy="477957"/>
      </dsp:txXfrm>
    </dsp:sp>
    <dsp:sp modelId="{3C43B809-8F2F-3641-8339-1043D47661D7}">
      <dsp:nvSpPr>
        <dsp:cNvPr id="0" name=""/>
        <dsp:cNvSpPr/>
      </dsp:nvSpPr>
      <dsp:spPr>
        <a:xfrm>
          <a:off x="2509809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2509809" y="1503441"/>
        <a:ext cx="1450548" cy="477957"/>
      </dsp:txXfrm>
    </dsp:sp>
    <dsp:sp modelId="{5167760A-1265-4C43-B02A-4A72B3B39F5E}">
      <dsp:nvSpPr>
        <dsp:cNvPr id="0" name=""/>
        <dsp:cNvSpPr/>
      </dsp:nvSpPr>
      <dsp:spPr>
        <a:xfrm>
          <a:off x="725640" y="1503441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25640" y="1503441"/>
        <a:ext cx="1450548" cy="477957"/>
      </dsp:txXfrm>
    </dsp:sp>
    <dsp:sp modelId="{921A596F-4B37-494E-B07C-17FD734C6406}">
      <dsp:nvSpPr>
        <dsp:cNvPr id="0" name=""/>
        <dsp:cNvSpPr/>
      </dsp:nvSpPr>
      <dsp:spPr>
        <a:xfrm>
          <a:off x="725640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s</a:t>
          </a:r>
          <a:r>
            <a:rPr lang="de-DE" sz="1050" kern="1200" dirty="0" smtClean="0"/>
            <a:t> : Chapter [*]</a:t>
          </a:r>
          <a:endParaRPr lang="de-DE" sz="1050" kern="1200" dirty="0"/>
        </a:p>
      </dsp:txBody>
      <dsp:txXfrm>
        <a:off x="725640" y="2108540"/>
        <a:ext cx="1450548" cy="477957"/>
      </dsp:txXfrm>
    </dsp:sp>
    <dsp:sp modelId="{33CE7315-72E8-4545-9EC6-56F4D0BEC64D}">
      <dsp:nvSpPr>
        <dsp:cNvPr id="0" name=""/>
        <dsp:cNvSpPr/>
      </dsp:nvSpPr>
      <dsp:spPr>
        <a:xfrm>
          <a:off x="2509809" y="2108540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2509809" y="2108540"/>
        <a:ext cx="1450548" cy="477957"/>
      </dsp:txXfrm>
    </dsp:sp>
    <dsp:sp modelId="{03DEAF18-EC72-C047-A9B4-C65BE189F02C}">
      <dsp:nvSpPr>
        <dsp:cNvPr id="0" name=""/>
        <dsp:cNvSpPr/>
      </dsp:nvSpPr>
      <dsp:spPr>
        <a:xfrm>
          <a:off x="725640" y="301618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016188"/>
        <a:ext cx="1450548" cy="477957"/>
      </dsp:txXfrm>
    </dsp:sp>
    <dsp:sp modelId="{448042B3-2CED-424C-815C-8FD3B3AD8A39}">
      <dsp:nvSpPr>
        <dsp:cNvPr id="0" name=""/>
        <dsp:cNvSpPr/>
      </dsp:nvSpPr>
      <dsp:spPr>
        <a:xfrm>
          <a:off x="2509809" y="2713639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509809" y="2713639"/>
        <a:ext cx="1450548" cy="477957"/>
      </dsp:txXfrm>
    </dsp:sp>
    <dsp:sp modelId="{F9B786D6-8B73-AC47-BEA7-3780A17C3E39}">
      <dsp:nvSpPr>
        <dsp:cNvPr id="0" name=""/>
        <dsp:cNvSpPr/>
      </dsp:nvSpPr>
      <dsp:spPr>
        <a:xfrm>
          <a:off x="2509809" y="3318738"/>
          <a:ext cx="1450548" cy="47795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509809" y="3318738"/>
        <a:ext cx="1450548" cy="477957"/>
      </dsp:txXfrm>
    </dsp:sp>
    <dsp:sp modelId="{4D444EFA-484D-8B49-B53F-73AE5DAC83CB}">
      <dsp:nvSpPr>
        <dsp:cNvPr id="0" name=""/>
        <dsp:cNvSpPr/>
      </dsp:nvSpPr>
      <dsp:spPr>
        <a:xfrm>
          <a:off x="725640" y="3621287"/>
          <a:ext cx="1450548" cy="47795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Calenda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25640" y="3621287"/>
        <a:ext cx="1450548" cy="4779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2491C-75CB-654B-ABCA-74AF8E25B4E8}">
      <dsp:nvSpPr>
        <dsp:cNvPr id="0" name=""/>
        <dsp:cNvSpPr/>
      </dsp:nvSpPr>
      <dsp:spPr>
        <a:xfrm>
          <a:off x="2112819" y="4222333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208" y="4338727"/>
        <a:ext cx="18409" cy="18409"/>
      </dsp:txXfrm>
    </dsp:sp>
    <dsp:sp modelId="{55365CED-83D4-194F-A914-2CFC37CD9B45}">
      <dsp:nvSpPr>
        <dsp:cNvPr id="0" name=""/>
        <dsp:cNvSpPr/>
      </dsp:nvSpPr>
      <dsp:spPr>
        <a:xfrm>
          <a:off x="2112819" y="3965867"/>
          <a:ext cx="269186" cy="256465"/>
        </a:xfrm>
        <a:custGeom>
          <a:avLst/>
          <a:gdLst/>
          <a:ahLst/>
          <a:cxnLst/>
          <a:rect l="0" t="0" r="0" b="0"/>
          <a:pathLst>
            <a:path>
              <a:moveTo>
                <a:pt x="0" y="256465"/>
              </a:moveTo>
              <a:lnTo>
                <a:pt x="134593" y="256465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2238117" y="4084805"/>
        <a:ext cx="18590" cy="18590"/>
      </dsp:txXfrm>
    </dsp:sp>
    <dsp:sp modelId="{91975744-72FE-E947-98E3-ECF3B2E7C3DC}">
      <dsp:nvSpPr>
        <dsp:cNvPr id="0" name=""/>
        <dsp:cNvSpPr/>
      </dsp:nvSpPr>
      <dsp:spPr>
        <a:xfrm>
          <a:off x="498830" y="2212027"/>
          <a:ext cx="269186" cy="20103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010306"/>
              </a:lnTo>
              <a:lnTo>
                <a:pt x="269186" y="2010306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/>
        </a:p>
      </dsp:txBody>
      <dsp:txXfrm>
        <a:off x="582717" y="3166474"/>
        <a:ext cx="101412" cy="101412"/>
      </dsp:txXfrm>
    </dsp:sp>
    <dsp:sp modelId="{60914178-E972-6747-98A5-9B1042D21399}">
      <dsp:nvSpPr>
        <dsp:cNvPr id="0" name=""/>
        <dsp:cNvSpPr/>
      </dsp:nvSpPr>
      <dsp:spPr>
        <a:xfrm>
          <a:off x="498830" y="2212027"/>
          <a:ext cx="269186" cy="15026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502643"/>
              </a:lnTo>
              <a:lnTo>
                <a:pt x="269186" y="1502643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259" y="2925184"/>
        <a:ext cx="76328" cy="76328"/>
      </dsp:txXfrm>
    </dsp:sp>
    <dsp:sp modelId="{64F502CF-3E90-0B4E-886C-91AB3F51938D}">
      <dsp:nvSpPr>
        <dsp:cNvPr id="0" name=""/>
        <dsp:cNvSpPr/>
      </dsp:nvSpPr>
      <dsp:spPr>
        <a:xfrm>
          <a:off x="2112819" y="3212276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251197"/>
              </a:lnTo>
              <a:lnTo>
                <a:pt x="269186" y="251197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328670"/>
        <a:ext cx="18409" cy="18409"/>
      </dsp:txXfrm>
    </dsp:sp>
    <dsp:sp modelId="{393A7F55-569D-7A48-ACE0-063418018375}">
      <dsp:nvSpPr>
        <dsp:cNvPr id="0" name=""/>
        <dsp:cNvSpPr/>
      </dsp:nvSpPr>
      <dsp:spPr>
        <a:xfrm>
          <a:off x="2112819" y="2961079"/>
          <a:ext cx="269186" cy="251197"/>
        </a:xfrm>
        <a:custGeom>
          <a:avLst/>
          <a:gdLst/>
          <a:ahLst/>
          <a:cxnLst/>
          <a:rect l="0" t="0" r="0" b="0"/>
          <a:pathLst>
            <a:path>
              <a:moveTo>
                <a:pt x="0" y="251197"/>
              </a:moveTo>
              <a:lnTo>
                <a:pt x="134593" y="251197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2238208" y="3077473"/>
        <a:ext cx="18409" cy="18409"/>
      </dsp:txXfrm>
    </dsp:sp>
    <dsp:sp modelId="{33DDFCA5-CC66-CC45-A430-EDF4DA53BA93}">
      <dsp:nvSpPr>
        <dsp:cNvPr id="0" name=""/>
        <dsp:cNvSpPr/>
      </dsp:nvSpPr>
      <dsp:spPr>
        <a:xfrm>
          <a:off x="498830" y="2212027"/>
          <a:ext cx="269186" cy="1000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1000249"/>
              </a:lnTo>
              <a:lnTo>
                <a:pt x="269186" y="1000249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07527" y="2686255"/>
        <a:ext cx="51791" cy="51791"/>
      </dsp:txXfrm>
    </dsp:sp>
    <dsp:sp modelId="{A3F719CD-4C36-CF49-B90F-B8B40A2B29DE}">
      <dsp:nvSpPr>
        <dsp:cNvPr id="0" name=""/>
        <dsp:cNvSpPr/>
      </dsp:nvSpPr>
      <dsp:spPr>
        <a:xfrm>
          <a:off x="498830" y="2212027"/>
          <a:ext cx="269186" cy="4978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34593" y="0"/>
              </a:lnTo>
              <a:lnTo>
                <a:pt x="134593" y="497855"/>
              </a:lnTo>
              <a:lnTo>
                <a:pt x="269186" y="49785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19274" y="2446805"/>
        <a:ext cx="28298" cy="28298"/>
      </dsp:txXfrm>
    </dsp:sp>
    <dsp:sp modelId="{1442578F-E924-E34F-9FA5-3F4C2CF65BC9}">
      <dsp:nvSpPr>
        <dsp:cNvPr id="0" name=""/>
        <dsp:cNvSpPr/>
      </dsp:nvSpPr>
      <dsp:spPr>
        <a:xfrm>
          <a:off x="498830" y="2161768"/>
          <a:ext cx="26918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50258"/>
              </a:moveTo>
              <a:lnTo>
                <a:pt x="134593" y="50258"/>
              </a:lnTo>
              <a:lnTo>
                <a:pt x="134593" y="45720"/>
              </a:lnTo>
              <a:lnTo>
                <a:pt x="269186" y="4572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626693" y="2200758"/>
        <a:ext cx="13461" cy="13461"/>
      </dsp:txXfrm>
    </dsp:sp>
    <dsp:sp modelId="{996189F3-00B3-7D49-A5FC-5430A26FB618}">
      <dsp:nvSpPr>
        <dsp:cNvPr id="0" name=""/>
        <dsp:cNvSpPr/>
      </dsp:nvSpPr>
      <dsp:spPr>
        <a:xfrm>
          <a:off x="498830" y="1705094"/>
          <a:ext cx="269186" cy="506932"/>
        </a:xfrm>
        <a:custGeom>
          <a:avLst/>
          <a:gdLst/>
          <a:ahLst/>
          <a:cxnLst/>
          <a:rect l="0" t="0" r="0" b="0"/>
          <a:pathLst>
            <a:path>
              <a:moveTo>
                <a:pt x="0" y="506932"/>
              </a:moveTo>
              <a:lnTo>
                <a:pt x="134593" y="506932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19074" y="1944211"/>
        <a:ext cx="28698" cy="28698"/>
      </dsp:txXfrm>
    </dsp:sp>
    <dsp:sp modelId="{42308E2A-E89A-524C-8598-CEBE02495F63}">
      <dsp:nvSpPr>
        <dsp:cNvPr id="0" name=""/>
        <dsp:cNvSpPr/>
      </dsp:nvSpPr>
      <dsp:spPr>
        <a:xfrm>
          <a:off x="498830" y="1202700"/>
          <a:ext cx="269186" cy="1009326"/>
        </a:xfrm>
        <a:custGeom>
          <a:avLst/>
          <a:gdLst/>
          <a:ahLst/>
          <a:cxnLst/>
          <a:rect l="0" t="0" r="0" b="0"/>
          <a:pathLst>
            <a:path>
              <a:moveTo>
                <a:pt x="0" y="1009326"/>
              </a:moveTo>
              <a:lnTo>
                <a:pt x="134593" y="1009326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607308" y="1681248"/>
        <a:ext cx="52230" cy="52230"/>
      </dsp:txXfrm>
    </dsp:sp>
    <dsp:sp modelId="{B7A5E06F-5B4B-C947-BFA6-C1FA5998CE54}">
      <dsp:nvSpPr>
        <dsp:cNvPr id="0" name=""/>
        <dsp:cNvSpPr/>
      </dsp:nvSpPr>
      <dsp:spPr>
        <a:xfrm>
          <a:off x="498830" y="700306"/>
          <a:ext cx="269186" cy="1511720"/>
        </a:xfrm>
        <a:custGeom>
          <a:avLst/>
          <a:gdLst/>
          <a:ahLst/>
          <a:cxnLst/>
          <a:rect l="0" t="0" r="0" b="0"/>
          <a:pathLst>
            <a:path>
              <a:moveTo>
                <a:pt x="0" y="1511720"/>
              </a:moveTo>
              <a:lnTo>
                <a:pt x="134593" y="151172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95036" y="1417779"/>
        <a:ext cx="76775" cy="76775"/>
      </dsp:txXfrm>
    </dsp:sp>
    <dsp:sp modelId="{D778007E-9974-2C41-910F-E1E5562B090A}">
      <dsp:nvSpPr>
        <dsp:cNvPr id="0" name=""/>
        <dsp:cNvSpPr/>
      </dsp:nvSpPr>
      <dsp:spPr>
        <a:xfrm>
          <a:off x="498830" y="199816"/>
          <a:ext cx="269186" cy="2012210"/>
        </a:xfrm>
        <a:custGeom>
          <a:avLst/>
          <a:gdLst/>
          <a:ahLst/>
          <a:cxnLst/>
          <a:rect l="0" t="0" r="0" b="0"/>
          <a:pathLst>
            <a:path>
              <a:moveTo>
                <a:pt x="0" y="2012210"/>
              </a:moveTo>
              <a:lnTo>
                <a:pt x="134593" y="2012210"/>
              </a:lnTo>
              <a:lnTo>
                <a:pt x="134593" y="0"/>
              </a:lnTo>
              <a:lnTo>
                <a:pt x="269186" y="0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" kern="1200"/>
        </a:p>
      </dsp:txBody>
      <dsp:txXfrm>
        <a:off x="582670" y="1155168"/>
        <a:ext cx="101506" cy="101506"/>
      </dsp:txXfrm>
    </dsp:sp>
    <dsp:sp modelId="{99E936FD-8649-9640-96D2-9202E1CEC417}">
      <dsp:nvSpPr>
        <dsp:cNvPr id="0" name=""/>
        <dsp:cNvSpPr/>
      </dsp:nvSpPr>
      <dsp:spPr>
        <a:xfrm rot="16200000">
          <a:off x="-786198" y="2006854"/>
          <a:ext cx="215971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BookDTO</a:t>
          </a:r>
          <a:endParaRPr lang="de-DE" sz="1800" kern="1200" dirty="0"/>
        </a:p>
      </dsp:txBody>
      <dsp:txXfrm>
        <a:off x="-786198" y="2006854"/>
        <a:ext cx="2159712" cy="410345"/>
      </dsp:txXfrm>
    </dsp:sp>
    <dsp:sp modelId="{5E781A07-1968-A143-88EC-827822313B55}">
      <dsp:nvSpPr>
        <dsp:cNvPr id="0" name=""/>
        <dsp:cNvSpPr/>
      </dsp:nvSpPr>
      <dsp:spPr>
        <a:xfrm>
          <a:off x="768017" y="1816"/>
          <a:ext cx="1332002" cy="395999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title : String [1]</a:t>
          </a:r>
          <a:endParaRPr lang="de-DE" sz="1050" kern="1200" dirty="0"/>
        </a:p>
      </dsp:txBody>
      <dsp:txXfrm>
        <a:off x="768017" y="1816"/>
        <a:ext cx="1332002" cy="395999"/>
      </dsp:txXfrm>
    </dsp:sp>
    <dsp:sp modelId="{D35EA19E-870C-2F44-A620-E6B51FB20589}">
      <dsp:nvSpPr>
        <dsp:cNvPr id="0" name=""/>
        <dsp:cNvSpPr/>
      </dsp:nvSpPr>
      <dsp:spPr>
        <a:xfrm>
          <a:off x="768017" y="50040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Fir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500402"/>
        <a:ext cx="1344802" cy="399807"/>
      </dsp:txXfrm>
    </dsp:sp>
    <dsp:sp modelId="{887F982A-9047-D440-AFAC-0FD9C008886A}">
      <dsp:nvSpPr>
        <dsp:cNvPr id="0" name=""/>
        <dsp:cNvSpPr/>
      </dsp:nvSpPr>
      <dsp:spPr>
        <a:xfrm>
          <a:off x="768017" y="1002796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LastName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1002796"/>
        <a:ext cx="1344802" cy="399807"/>
      </dsp:txXfrm>
    </dsp:sp>
    <dsp:sp modelId="{9E30CAA0-C8DA-7340-9AC5-F7AFBAE25743}">
      <dsp:nvSpPr>
        <dsp:cNvPr id="0" name=""/>
        <dsp:cNvSpPr/>
      </dsp:nvSpPr>
      <dsp:spPr>
        <a:xfrm>
          <a:off x="768017" y="1505190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authorBirthday</a:t>
          </a:r>
          <a:r>
            <a:rPr lang="de-DE" sz="1050" kern="1200" dirty="0" smtClean="0"/>
            <a:t> : Date [1]</a:t>
          </a:r>
          <a:endParaRPr lang="de-DE" sz="1050" kern="1200" dirty="0"/>
        </a:p>
      </dsp:txBody>
      <dsp:txXfrm>
        <a:off x="768017" y="1505190"/>
        <a:ext cx="1344802" cy="399807"/>
      </dsp:txXfrm>
    </dsp:sp>
    <dsp:sp modelId="{5167760A-1265-4C43-B02A-4A72B3B39F5E}">
      <dsp:nvSpPr>
        <dsp:cNvPr id="0" name=""/>
        <dsp:cNvSpPr/>
      </dsp:nvSpPr>
      <dsp:spPr>
        <a:xfrm>
          <a:off x="768017" y="200758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publisher</a:t>
          </a:r>
          <a:r>
            <a:rPr lang="de-DE" sz="1050" kern="1200" dirty="0" smtClean="0"/>
            <a:t> : String [1]</a:t>
          </a:r>
          <a:endParaRPr lang="de-DE" sz="1050" kern="1200" dirty="0"/>
        </a:p>
      </dsp:txBody>
      <dsp:txXfrm>
        <a:off x="768017" y="2007584"/>
        <a:ext cx="1344802" cy="399807"/>
      </dsp:txXfrm>
    </dsp:sp>
    <dsp:sp modelId="{921A596F-4B37-494E-B07C-17FD734C6406}">
      <dsp:nvSpPr>
        <dsp:cNvPr id="0" name=""/>
        <dsp:cNvSpPr/>
      </dsp:nvSpPr>
      <dsp:spPr>
        <a:xfrm>
          <a:off x="768017" y="2509978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chapterTitles</a:t>
          </a:r>
          <a:r>
            <a:rPr lang="de-DE" sz="1050" kern="1200" dirty="0" smtClean="0"/>
            <a:t> : String [*]</a:t>
          </a:r>
          <a:endParaRPr lang="de-DE" sz="1050" kern="1200" dirty="0"/>
        </a:p>
      </dsp:txBody>
      <dsp:txXfrm>
        <a:off x="768017" y="2509978"/>
        <a:ext cx="1344802" cy="399807"/>
      </dsp:txXfrm>
    </dsp:sp>
    <dsp:sp modelId="{03DEAF18-EC72-C047-A9B4-C65BE189F02C}">
      <dsp:nvSpPr>
        <dsp:cNvPr id="0" name=""/>
        <dsp:cNvSpPr/>
      </dsp:nvSpPr>
      <dsp:spPr>
        <a:xfrm>
          <a:off x="768017" y="3012372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Cover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Cover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3012372"/>
        <a:ext cx="1344802" cy="399807"/>
      </dsp:txXfrm>
    </dsp:sp>
    <dsp:sp modelId="{448042B3-2CED-424C-815C-8FD3B3AD8A39}">
      <dsp:nvSpPr>
        <dsp:cNvPr id="0" name=""/>
        <dsp:cNvSpPr/>
      </dsp:nvSpPr>
      <dsp:spPr>
        <a:xfrm>
          <a:off x="2382005" y="2761175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HARD_COVER</a:t>
          </a:r>
          <a:endParaRPr lang="de-DE" sz="1050" kern="1200" dirty="0"/>
        </a:p>
      </dsp:txBody>
      <dsp:txXfrm>
        <a:off x="2382005" y="2761175"/>
        <a:ext cx="1344802" cy="399807"/>
      </dsp:txXfrm>
    </dsp:sp>
    <dsp:sp modelId="{F9B786D6-8B73-AC47-BEA7-3780A17C3E39}">
      <dsp:nvSpPr>
        <dsp:cNvPr id="0" name=""/>
        <dsp:cNvSpPr/>
      </dsp:nvSpPr>
      <dsp:spPr>
        <a:xfrm>
          <a:off x="2382005" y="326356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PAPER_BACK</a:t>
          </a:r>
          <a:endParaRPr lang="de-DE" sz="1050" kern="1200" dirty="0"/>
        </a:p>
      </dsp:txBody>
      <dsp:txXfrm>
        <a:off x="2382005" y="3263569"/>
        <a:ext cx="1344802" cy="399807"/>
      </dsp:txXfrm>
    </dsp:sp>
    <dsp:sp modelId="{4D444EFA-484D-8B49-B53F-73AE5DAC83CB}">
      <dsp:nvSpPr>
        <dsp:cNvPr id="0" name=""/>
        <dsp:cNvSpPr/>
      </dsp:nvSpPr>
      <dsp:spPr>
        <a:xfrm>
          <a:off x="768017" y="3514766"/>
          <a:ext cx="1344802" cy="399807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releaseDate</a:t>
          </a:r>
          <a:r>
            <a:rPr lang="de-DE" sz="1050" kern="1200" dirty="0" smtClean="0"/>
            <a:t> : Date[1]</a:t>
          </a:r>
          <a:endParaRPr lang="de-DE" sz="1050" kern="1200" dirty="0"/>
        </a:p>
      </dsp:txBody>
      <dsp:txXfrm>
        <a:off x="768017" y="3514766"/>
        <a:ext cx="1344802" cy="399807"/>
      </dsp:txXfrm>
    </dsp:sp>
    <dsp:sp modelId="{73B69BAE-7567-8E4E-A9B2-D2862F6B978E}">
      <dsp:nvSpPr>
        <dsp:cNvPr id="0" name=""/>
        <dsp:cNvSpPr/>
      </dsp:nvSpPr>
      <dsp:spPr>
        <a:xfrm>
          <a:off x="768017" y="4022429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err="1" smtClean="0"/>
            <a:t>bookType</a:t>
          </a:r>
          <a:r>
            <a:rPr lang="de-DE" sz="1050" kern="1200" dirty="0" smtClean="0"/>
            <a:t> : </a:t>
          </a:r>
          <a:r>
            <a:rPr lang="de-DE" sz="1050" kern="1200" dirty="0" err="1" smtClean="0"/>
            <a:t>BookTypeDTO</a:t>
          </a:r>
          <a:r>
            <a:rPr lang="de-DE" sz="1050" kern="1200" dirty="0" smtClean="0"/>
            <a:t> [1]</a:t>
          </a:r>
          <a:endParaRPr lang="de-DE" sz="1050" kern="1200" dirty="0"/>
        </a:p>
      </dsp:txBody>
      <dsp:txXfrm>
        <a:off x="768017" y="4022429"/>
        <a:ext cx="1344802" cy="399807"/>
      </dsp:txXfrm>
    </dsp:sp>
    <dsp:sp modelId="{21C89BDE-E13D-974B-B17D-6B6CDBB2C8DB}">
      <dsp:nvSpPr>
        <dsp:cNvPr id="0" name=""/>
        <dsp:cNvSpPr/>
      </dsp:nvSpPr>
      <dsp:spPr>
        <a:xfrm>
          <a:off x="2382005" y="3765964"/>
          <a:ext cx="1344802" cy="39980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VEL</a:t>
          </a:r>
          <a:endParaRPr lang="de-DE" sz="1050" kern="1200" dirty="0"/>
        </a:p>
      </dsp:txBody>
      <dsp:txXfrm>
        <a:off x="2382005" y="3765964"/>
        <a:ext cx="1344802" cy="399807"/>
      </dsp:txXfrm>
    </dsp:sp>
    <dsp:sp modelId="{84732D04-01E1-2742-A082-1195BCDCDEC2}">
      <dsp:nvSpPr>
        <dsp:cNvPr id="0" name=""/>
        <dsp:cNvSpPr/>
      </dsp:nvSpPr>
      <dsp:spPr>
        <a:xfrm>
          <a:off x="2382005" y="4268358"/>
          <a:ext cx="1345932" cy="410345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50" kern="1200" dirty="0" smtClean="0"/>
            <a:t>NON_FICTION</a:t>
          </a:r>
          <a:endParaRPr lang="de-DE" sz="1050" kern="1200" dirty="0"/>
        </a:p>
      </dsp:txBody>
      <dsp:txXfrm>
        <a:off x="2382005" y="4268358"/>
        <a:ext cx="1345932" cy="4103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1" Type="http://schemas.openxmlformats.org/officeDocument/2006/relationships/theme" Target="../theme/theme3.xml"/><Relationship Id="rId2" Type="http://schemas.openxmlformats.org/officeDocument/2006/relationships/tags" Target="../tags/tag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27.08.1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2"/>
          <p:cNvSpPr>
            <a:spLocks noGrp="1"/>
          </p:cNvSpPr>
          <p:nvPr>
            <p:ph type="sldNum" sz="quarter" idx="3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429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1" Type="http://schemas.openxmlformats.org/officeDocument/2006/relationships/theme" Target="../theme/theme2.xml"/><Relationship Id="rId2" Type="http://schemas.openxmlformats.org/officeDocument/2006/relationships/tags" Target="../tags/tag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6056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60350" y="4343400"/>
            <a:ext cx="63373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0" y="8811430"/>
            <a:ext cx="6858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>
            <p:custDataLst>
              <p:tags r:id="rId2"/>
            </p:custDataLst>
          </p:nvPr>
        </p:nvSpPr>
        <p:spPr bwMode="gray">
          <a:xfrm>
            <a:off x="260350" y="8811430"/>
            <a:ext cx="135924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  <p:custDataLst>
              <p:tags r:id="rId3"/>
            </p:custDataLst>
          </p:nvPr>
        </p:nvSpPr>
        <p:spPr bwMode="gray">
          <a:xfrm>
            <a:off x="1748410" y="8811430"/>
            <a:ext cx="7201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24523C93-84C8-404C-9343-A87C958A5467}" type="datetimeFigureOut">
              <a:rPr lang="de-DE" smtClean="0"/>
              <a:pPr/>
              <a:t>27.08.1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  <p:custDataLst>
              <p:tags r:id="rId4"/>
            </p:custDataLst>
          </p:nvPr>
        </p:nvSpPr>
        <p:spPr bwMode="gray">
          <a:xfrm>
            <a:off x="2564880" y="8811430"/>
            <a:ext cx="331246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12"/>
          <p:cNvSpPr>
            <a:spLocks noGrp="1"/>
          </p:cNvSpPr>
          <p:nvPr>
            <p:ph type="sldNum" sz="quarter" idx="5"/>
          </p:nvPr>
        </p:nvSpPr>
        <p:spPr bwMode="gray">
          <a:xfrm>
            <a:off x="5948986" y="8811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3446709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200"/>
      </a:spcBef>
      <a:spcAft>
        <a:spcPts val="200"/>
      </a:spcAft>
      <a:defRPr sz="1000" b="1" kern="1200">
        <a:solidFill>
          <a:schemeClr val="accent3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Wingdings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Arial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6pPr>
    <a:lvl7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7pPr>
    <a:lvl8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 baseline="0">
        <a:solidFill>
          <a:schemeClr val="tx1"/>
        </a:solidFill>
        <a:latin typeface="+mn-lt"/>
        <a:ea typeface="+mn-ea"/>
        <a:cs typeface="+mn-cs"/>
      </a:defRPr>
    </a:lvl8pPr>
    <a:lvl9pPr marL="720000" indent="-180000" algn="l" defTabSz="914400" rtl="0" eaLnBrk="1" latinLnBrk="0" hangingPunct="1">
      <a:spcBef>
        <a:spcPts val="200"/>
      </a:spcBef>
      <a:spcAft>
        <a:spcPts val="200"/>
      </a:spcAft>
      <a:buClr>
        <a:schemeClr val="accent3"/>
      </a:buClr>
      <a:buFont typeface="Symbol" pitchFamily="18" charset="2"/>
      <a:buChar char="-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de.wikipedia.org/wiki/Fehlertoleranz" TargetMode="External"/><Relationship Id="rId20" Type="http://schemas.openxmlformats.org/officeDocument/2006/relationships/hyperlink" Target="http://de.wikipedia.org/wiki/Testbarkeit" TargetMode="External"/><Relationship Id="rId21" Type="http://schemas.openxmlformats.org/officeDocument/2006/relationships/hyperlink" Target="http://de.wikipedia.org/wiki/Plattformunabh%C3%A4ngigkeit" TargetMode="External"/><Relationship Id="rId22" Type="http://schemas.openxmlformats.org/officeDocument/2006/relationships/hyperlink" Target="http://de.wikipedia.org/wiki/Koexistenz" TargetMode="External"/><Relationship Id="rId10" Type="http://schemas.openxmlformats.org/officeDocument/2006/relationships/hyperlink" Target="http://de.wikipedia.org/wiki/Gebrauchstauglichkeit_(Produkt)" TargetMode="External"/><Relationship Id="rId11" Type="http://schemas.openxmlformats.org/officeDocument/2006/relationships/hyperlink" Target="http://de.wikipedia.org/wiki/Software-Ergonomie" TargetMode="External"/><Relationship Id="rId12" Type="http://schemas.openxmlformats.org/officeDocument/2006/relationships/hyperlink" Target="http://de.wikipedia.org/wiki/Benutzerfreundlichkeit" TargetMode="External"/><Relationship Id="rId13" Type="http://schemas.openxmlformats.org/officeDocument/2006/relationships/hyperlink" Target="http://de.wikipedia.org/wiki/Attraktivit%C3%A4t" TargetMode="External"/><Relationship Id="rId14" Type="http://schemas.openxmlformats.org/officeDocument/2006/relationships/hyperlink" Target="http://de.wikipedia.org/wiki/Effizienz_(Informatik)" TargetMode="External"/><Relationship Id="rId15" Type="http://schemas.openxmlformats.org/officeDocument/2006/relationships/hyperlink" Target="http://de.wikipedia.org/wiki/Leistung_(Informatik)" TargetMode="External"/><Relationship Id="rId16" Type="http://schemas.openxmlformats.org/officeDocument/2006/relationships/hyperlink" Target="http://de.wikipedia.org/wiki/Komplexit%C3%A4t_(Informatik)" TargetMode="External"/><Relationship Id="rId17" Type="http://schemas.openxmlformats.org/officeDocument/2006/relationships/hyperlink" Target="http://de.wikipedia.org/wiki/Wartbarkeit" TargetMode="External"/><Relationship Id="rId18" Type="http://schemas.openxmlformats.org/officeDocument/2006/relationships/hyperlink" Target="http://de.wikipedia.org/wiki/Modifizierbarkeit" TargetMode="External"/><Relationship Id="rId19" Type="http://schemas.openxmlformats.org/officeDocument/2006/relationships/hyperlink" Target="http://de.wikipedia.org/wiki/Stabilit%C3%A4t" TargetMode="External"/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Relationship Id="rId3" Type="http://schemas.openxmlformats.org/officeDocument/2006/relationships/hyperlink" Target="http://de.wikipedia.org/wiki/Funktionalit%C3%A4t" TargetMode="External"/><Relationship Id="rId4" Type="http://schemas.openxmlformats.org/officeDocument/2006/relationships/hyperlink" Target="http://de.wikipedia.org/wiki/Richtigkeit" TargetMode="External"/><Relationship Id="rId5" Type="http://schemas.openxmlformats.org/officeDocument/2006/relationships/hyperlink" Target="http://de.wikipedia.org/wiki/Interoperabilit%C3%A4t" TargetMode="External"/><Relationship Id="rId6" Type="http://schemas.openxmlformats.org/officeDocument/2006/relationships/hyperlink" Target="http://de.wikipedia.org/wiki/Informationssicherheit" TargetMode="External"/><Relationship Id="rId7" Type="http://schemas.openxmlformats.org/officeDocument/2006/relationships/hyperlink" Target="http://de.wikipedia.org/wiki/Konformit%C3%A4t" TargetMode="External"/><Relationship Id="rId8" Type="http://schemas.openxmlformats.org/officeDocument/2006/relationships/hyperlink" Target="http://de.wikipedia.org/wiki/Zuverl%C3%A4ssigkeit_(Technik)" TargetMode="Externa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C954B-B8C8-419A-AADE-F78AC99DD3F8}" type="datetime1">
              <a:rPr lang="de-DE" smtClean="0"/>
              <a:pPr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hlinkClick r:id="rId3" tooltip="Funktionalität"/>
              </a:rPr>
              <a:t>Funktionalität</a:t>
            </a:r>
            <a:r>
              <a:rPr lang="de-DE" dirty="0"/>
              <a:t>: Inwieweit besitzt die Software die geforderten Funktionen? – Vorhandensein von Funktionen mit festgelegten Eigenschaften. Diese Funktionen erfüllen die definierten Anforderungen. </a:t>
            </a:r>
          </a:p>
          <a:p>
            <a:pPr lvl="1"/>
            <a:r>
              <a:rPr lang="de-DE" dirty="0" smtClean="0"/>
              <a:t>Angemessenheit, </a:t>
            </a:r>
            <a:r>
              <a:rPr lang="de-DE" dirty="0" smtClean="0">
                <a:hlinkClick r:id="rId4" tooltip="Richtigkeit"/>
              </a:rPr>
              <a:t>Richtigkeit</a:t>
            </a:r>
            <a:r>
              <a:rPr lang="de-DE" dirty="0" smtClean="0"/>
              <a:t>, </a:t>
            </a:r>
            <a:r>
              <a:rPr lang="de-DE" dirty="0" smtClean="0">
                <a:hlinkClick r:id="rId5" tooltip="Interoperabilität"/>
              </a:rPr>
              <a:t>Interoperabilität</a:t>
            </a:r>
            <a:r>
              <a:rPr lang="de-DE" dirty="0" smtClean="0"/>
              <a:t>, </a:t>
            </a:r>
            <a:r>
              <a:rPr lang="de-DE" dirty="0" smtClean="0">
                <a:hlinkClick r:id="rId6" tooltip="Informationssicherheit"/>
              </a:rPr>
              <a:t>Sicherheit</a:t>
            </a:r>
            <a:r>
              <a:rPr lang="de-DE" dirty="0" smtClean="0"/>
              <a:t>, Ordnungsmäßigkeit, </a:t>
            </a:r>
            <a:r>
              <a:rPr lang="de-DE" dirty="0" smtClean="0">
                <a:hlinkClick r:id="rId7" tooltip="Konformität"/>
              </a:rPr>
              <a:t>Konformität</a:t>
            </a:r>
            <a:r>
              <a:rPr lang="de-DE" dirty="0" smtClean="0"/>
              <a:t> </a:t>
            </a:r>
          </a:p>
          <a:p>
            <a:pPr marL="0" lvl="1" indent="0">
              <a:buNone/>
            </a:pPr>
            <a:r>
              <a:rPr lang="de-DE" dirty="0" smtClean="0">
                <a:hlinkClick r:id="rId8" tooltip="Zuverlässigkeit (Technik)"/>
              </a:rPr>
              <a:t>Zuverlässigkeit</a:t>
            </a:r>
            <a:r>
              <a:rPr lang="de-DE" dirty="0"/>
              <a:t>: Kann die Software ein bestimmtes Leistungsniveau unter bestimmten Bedingungen über einen bestimmten Zeitraum aufrechterhalten? – Fähigkeit der Software, ihr Leistungsniveau unter festgelegten Bedingungen über einen festgelegten Zeitraum zu bewahren. </a:t>
            </a:r>
          </a:p>
          <a:p>
            <a:pPr lvl="1"/>
            <a:r>
              <a:rPr lang="de-DE" dirty="0" smtClean="0"/>
              <a:t>Reife, </a:t>
            </a:r>
            <a:r>
              <a:rPr lang="de-DE" dirty="0" smtClean="0">
                <a:hlinkClick r:id="rId9" tooltip="Fehlertoleranz"/>
              </a:rPr>
              <a:t>Fehlertoleranz</a:t>
            </a:r>
            <a:r>
              <a:rPr lang="de-DE" dirty="0" smtClean="0"/>
              <a:t>, Wiederherstellbarkeit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0" tooltip="Gebrauchstauglichkeit (Produkt)"/>
              </a:rPr>
              <a:t>Benutzbarkeit</a:t>
            </a:r>
            <a:r>
              <a:rPr lang="de-DE" dirty="0"/>
              <a:t>: Welchen Aufwand fordert der Einsatz der Software von den Benutzern und wie wird er von diesen beurteilt? – Aufwand, der zur Benutzung erforderlich ist, und individuelle Beurteilung der Benutzung durch eine festgelegte oder vorausgesetzte Benutzergruppe. Siehe auch </a:t>
            </a:r>
            <a:r>
              <a:rPr lang="de-DE" dirty="0">
                <a:hlinkClick r:id="rId11" tooltip="Software-Ergonomie"/>
              </a:rPr>
              <a:t>Software-Ergonomie</a:t>
            </a:r>
            <a:r>
              <a:rPr lang="de-DE" dirty="0"/>
              <a:t>. </a:t>
            </a:r>
          </a:p>
          <a:p>
            <a:pPr lvl="1"/>
            <a:r>
              <a:rPr lang="de-DE" dirty="0" smtClean="0"/>
              <a:t>Verständlichkeit Erlernbarkeit, </a:t>
            </a:r>
            <a:r>
              <a:rPr lang="de-DE" dirty="0" smtClean="0">
                <a:hlinkClick r:id="rId12" tooltip="Benutzerfreundlichkeit"/>
              </a:rPr>
              <a:t>Bedienbarkeit</a:t>
            </a:r>
            <a:r>
              <a:rPr lang="de-DE" dirty="0" smtClean="0"/>
              <a:t>, </a:t>
            </a:r>
            <a:r>
              <a:rPr lang="de-DE" dirty="0" smtClean="0">
                <a:hlinkClick r:id="rId13" tooltip="Attraktivität"/>
              </a:rPr>
              <a:t>Attraktivitä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4" tooltip="Effizienz (Informatik)"/>
              </a:rPr>
              <a:t>Effizienz</a:t>
            </a:r>
            <a:r>
              <a:rPr lang="de-DE" dirty="0"/>
              <a:t>: Wie liegt das Verhältnis zwischen Leistungsniveau der Software und eingesetzten Betriebsmitteln? – Verhältnis zwischen dem Leistungsniveau der Software und dem Umfang der eingesetzten Betriebsmittel unter festgelegten Bedingungen. </a:t>
            </a:r>
          </a:p>
          <a:p>
            <a:pPr lvl="1"/>
            <a:r>
              <a:rPr lang="de-DE" dirty="0" smtClean="0">
                <a:hlinkClick r:id="rId15" tooltip="Leistung (Informatik)"/>
              </a:rPr>
              <a:t>Zeitverhalten</a:t>
            </a:r>
            <a:r>
              <a:rPr lang="de-DE" dirty="0" smtClean="0"/>
              <a:t>, </a:t>
            </a:r>
            <a:r>
              <a:rPr lang="de-DE" dirty="0" smtClean="0">
                <a:hlinkClick r:id="rId16" tooltip="Komplexität (Informatik)"/>
              </a:rPr>
              <a:t>Verbrauchsverhalten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17" tooltip="Wartbarkeit"/>
              </a:rPr>
              <a:t>Wartbarkeit</a:t>
            </a:r>
            <a:r>
              <a:rPr lang="de-DE" dirty="0" smtClean="0"/>
              <a:t>/Änderbarkeit</a:t>
            </a:r>
            <a:r>
              <a:rPr lang="de-DE" dirty="0"/>
              <a:t>: Welchen Aufwand erfordert die Durchführung vorgegebener Änderungen an der Software? – Aufwand, der zur Durchführung vorgegebener Änderungen notwendig ist. Änderungen können Korrekturen, Verbesserungen oder Anpassungen an Änderungen der Umgebung, der Anforderungen oder der funktionalen Spezifikationen einschließen. </a:t>
            </a:r>
          </a:p>
          <a:p>
            <a:pPr lvl="1"/>
            <a:r>
              <a:rPr lang="de-DE" dirty="0" smtClean="0"/>
              <a:t>Analysierbarkeit, </a:t>
            </a:r>
            <a:r>
              <a:rPr lang="de-DE" dirty="0" smtClean="0">
                <a:hlinkClick r:id="rId18" tooltip="Modifizierbarkeit"/>
              </a:rPr>
              <a:t>Modifizierbarkeit</a:t>
            </a:r>
            <a:r>
              <a:rPr lang="de-DE" dirty="0" smtClean="0"/>
              <a:t>, </a:t>
            </a:r>
            <a:r>
              <a:rPr lang="de-DE" dirty="0" smtClean="0">
                <a:hlinkClick r:id="rId19" tooltip="Stabilität"/>
              </a:rPr>
              <a:t>Stabilität</a:t>
            </a:r>
            <a:r>
              <a:rPr lang="de-DE" dirty="0" smtClean="0"/>
              <a:t>, </a:t>
            </a:r>
            <a:r>
              <a:rPr lang="de-DE" dirty="0" smtClean="0">
                <a:hlinkClick r:id="rId20" tooltip="Testbarkeit"/>
              </a:rPr>
              <a:t>Testbarkeit</a:t>
            </a:r>
            <a:r>
              <a:rPr lang="de-DE" dirty="0" smtClean="0"/>
              <a:t>, Konformität</a:t>
            </a:r>
          </a:p>
          <a:p>
            <a:pPr marL="0" lvl="1" indent="0">
              <a:buNone/>
            </a:pPr>
            <a:r>
              <a:rPr lang="de-DE" dirty="0" smtClean="0">
                <a:hlinkClick r:id="rId21" tooltip="Plattformunabhängigkeit"/>
              </a:rPr>
              <a:t>Übertragbarkeit</a:t>
            </a:r>
            <a:r>
              <a:rPr lang="de-DE" dirty="0"/>
              <a:t>: Wie leicht lässt sich die Software in eine andere Umgebung übertragen? – Eignung der Software, von der Umgebung in eine andere übertragen werden zu können. Umgebung kann organisatorische Umgebung, Hardware- oder Software-Umgebung sein. </a:t>
            </a:r>
          </a:p>
          <a:p>
            <a:pPr lvl="1"/>
            <a:r>
              <a:rPr lang="de-DE" dirty="0"/>
              <a:t>Anpassbarkeit: Fähigkeit der Software, diese an verschiedene Umgebungen anzupassen.</a:t>
            </a:r>
          </a:p>
          <a:p>
            <a:pPr lvl="1"/>
            <a:r>
              <a:rPr lang="de-DE" dirty="0"/>
              <a:t>Installierbarkeit: Aufwand, der zum Installieren der Software in einer festgelegten Umgebung notwendig ist.</a:t>
            </a:r>
          </a:p>
          <a:p>
            <a:pPr lvl="1"/>
            <a:r>
              <a:rPr lang="de-DE" dirty="0">
                <a:hlinkClick r:id="rId22" tooltip="Koexistenz"/>
              </a:rPr>
              <a:t>Koexistenz</a:t>
            </a:r>
            <a:r>
              <a:rPr lang="de-DE" dirty="0"/>
              <a:t>: Fähigkeit der Software neben einer anderen mit ähnlichen oder gleichen Funktionen zu arbeiten.</a:t>
            </a:r>
          </a:p>
          <a:p>
            <a:pPr lvl="1"/>
            <a:r>
              <a:rPr lang="de-DE" dirty="0"/>
              <a:t>Austauschbarkeit: Möglichkeit, diese Software anstelle einer spezifizierten anderen in der Umgebung jener Software zu verwenden, sowie der dafür notwendige Aufwand.</a:t>
            </a:r>
          </a:p>
          <a:p>
            <a:pPr lvl="1"/>
            <a:r>
              <a:rPr lang="de-DE" dirty="0"/>
              <a:t>Konformität: Grad, in dem die Software Normen oder Vereinbarungen zur Übertragbarkeit erfüllt.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350D3-0AEB-4393-8A29-FFC355146385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07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035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C2D33A-5076-427B-AFA6-BD9E7A04C415}" type="datetime1">
              <a:rPr lang="de-DE" smtClean="0"/>
              <a:pPr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1.emf"/><Relationship Id="rId9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.emf"/><Relationship Id="rId8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939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5661542"/>
            <a:ext cx="8642350" cy="503838"/>
          </a:xfrm>
        </p:spPr>
        <p:txBody>
          <a:bodyPr anchor="b" anchorCtr="0">
            <a:noAutofit/>
          </a:bodyPr>
          <a:lstStyle>
            <a:lvl1pPr marL="0" indent="0">
              <a:buFont typeface="Arial" pitchFamily="34" charset="0"/>
              <a:buNone/>
              <a:defRPr sz="1200" b="0">
                <a:solidFill>
                  <a:schemeClr val="bg2"/>
                </a:solidFill>
              </a:defRPr>
            </a:lvl1pPr>
            <a:lvl2pPr marL="0" indent="0">
              <a:buNone/>
              <a:defRPr sz="1200">
                <a:solidFill>
                  <a:schemeClr val="bg2"/>
                </a:solidFill>
              </a:defRPr>
            </a:lvl2pPr>
            <a:lvl3pPr marL="0" indent="0">
              <a:buNone/>
              <a:defRPr sz="1200">
                <a:solidFill>
                  <a:schemeClr val="bg2"/>
                </a:solidFill>
              </a:defRPr>
            </a:lvl3pPr>
            <a:lvl4pPr marL="0" indent="0">
              <a:buNone/>
              <a:defRPr sz="1200">
                <a:solidFill>
                  <a:schemeClr val="bg2"/>
                </a:solidFill>
              </a:defRPr>
            </a:lvl4pPr>
            <a:lvl5pPr marL="0" indent="0">
              <a:buNone/>
              <a:defRPr sz="1200">
                <a:solidFill>
                  <a:schemeClr val="bg2"/>
                </a:solidFill>
              </a:defRPr>
            </a:lvl5pPr>
            <a:lvl6pPr marL="0" indent="0">
              <a:buNone/>
              <a:defRPr sz="1200">
                <a:solidFill>
                  <a:schemeClr val="bg2"/>
                </a:solidFill>
              </a:defRPr>
            </a:lvl6pPr>
            <a:lvl7pPr marL="0" indent="0">
              <a:buNone/>
              <a:defRPr sz="1200">
                <a:solidFill>
                  <a:schemeClr val="bg2"/>
                </a:solidFill>
              </a:defRPr>
            </a:lvl7pPr>
            <a:lvl8pPr marL="0" indent="0">
              <a:buNone/>
              <a:defRPr sz="1200">
                <a:solidFill>
                  <a:schemeClr val="bg2"/>
                </a:solidFill>
              </a:defRPr>
            </a:lvl8pPr>
            <a:lvl9pPr marL="0" indent="0"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dirty="0" smtClean="0"/>
              <a:t>Ort, Datum eingeben</a:t>
            </a:r>
          </a:p>
        </p:txBody>
      </p:sp>
      <p:pic>
        <p:nvPicPr>
          <p:cNvPr id="11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1061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691AD34-C472-4D64-846F-8B487AA14261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64807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D30F227-7979-4D82-A51B-D6ECC99FEF80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6823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699293"/>
            <a:ext cx="9144000" cy="5825332"/>
          </a:xfrm>
          <a:noFill/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0825" y="1628775"/>
            <a:ext cx="3313113" cy="2016125"/>
          </a:xfrm>
          <a:solidFill>
            <a:schemeClr val="bg1">
              <a:alpha val="80000"/>
            </a:schemeClr>
          </a:solidFill>
        </p:spPr>
        <p:txBody>
          <a:bodyPr lIns="72000" tIns="72000" rIns="72000" bIns="72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F3C783-8EE4-4E46-9A80-813386CFF9DD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756483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431800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0" cap="all" baseline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Pos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80C303-BA93-4835-A165-8E867B3CF3F6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19"/>
          <p:cNvSpPr>
            <a:spLocks noGrp="1"/>
          </p:cNvSpPr>
          <p:nvPr>
            <p:ph type="body" sz="quarter" idx="11"/>
          </p:nvPr>
        </p:nvSpPr>
        <p:spPr>
          <a:xfrm>
            <a:off x="251400" y="1052513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24"/>
          <p:cNvSpPr>
            <a:spLocks noGrp="1"/>
          </p:cNvSpPr>
          <p:nvPr>
            <p:ph type="body" sz="quarter" idx="13"/>
          </p:nvPr>
        </p:nvSpPr>
        <p:spPr>
          <a:xfrm>
            <a:off x="251400" y="1484313"/>
            <a:ext cx="4248590" cy="136842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1368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251400" y="299696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Textplatzhalter 24"/>
          <p:cNvSpPr>
            <a:spLocks noGrp="1"/>
          </p:cNvSpPr>
          <p:nvPr>
            <p:ph type="body" sz="quarter" idx="15"/>
          </p:nvPr>
        </p:nvSpPr>
        <p:spPr>
          <a:xfrm>
            <a:off x="251973" y="342876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6"/>
          </p:nvPr>
        </p:nvSpPr>
        <p:spPr>
          <a:xfrm>
            <a:off x="251400" y="4653195"/>
            <a:ext cx="4248590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Textplatzhalter 24"/>
          <p:cNvSpPr>
            <a:spLocks noGrp="1"/>
          </p:cNvSpPr>
          <p:nvPr>
            <p:ph type="body" sz="quarter" idx="17"/>
          </p:nvPr>
        </p:nvSpPr>
        <p:spPr>
          <a:xfrm>
            <a:off x="251973" y="5084995"/>
            <a:ext cx="4248017" cy="1080385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4" name="Textplatzhalter 19"/>
          <p:cNvSpPr>
            <a:spLocks noGrp="1"/>
          </p:cNvSpPr>
          <p:nvPr>
            <p:ph type="body" sz="quarter" idx="18"/>
          </p:nvPr>
        </p:nvSpPr>
        <p:spPr>
          <a:xfrm>
            <a:off x="4644010" y="1052670"/>
            <a:ext cx="4249165" cy="431800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90000" tIns="46800" rIns="90000" bIns="72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 sz="12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2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4644584" y="1484470"/>
            <a:ext cx="4248592" cy="4681380"/>
          </a:xfrm>
          <a:solidFill>
            <a:schemeClr val="bg1"/>
          </a:solidFill>
          <a:ln>
            <a:solidFill>
              <a:schemeClr val="accent4"/>
            </a:solidFill>
          </a:ln>
        </p:spPr>
        <p:txBody>
          <a:bodyPr lIns="90000" tIns="72000" rIns="90000" bIns="46800"/>
          <a:lstStyle>
            <a:lvl1pPr marL="171450" indent="-17145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Wingdings" pitchFamily="2" charset="2"/>
              <a:buChar char="§"/>
              <a:tabLst/>
              <a:defRPr sz="1000" b="0">
                <a:solidFill>
                  <a:schemeClr val="tx1"/>
                </a:solidFill>
              </a:defRPr>
            </a:lvl1pPr>
            <a:lvl2pPr marL="3603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2pPr>
            <a:lvl3pPr marL="538163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000"/>
            </a:lvl3pPr>
            <a:lvl4pPr marL="717550" indent="-179388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tabLst/>
              <a:defRPr sz="1000"/>
            </a:lvl4pPr>
            <a:lvl5pPr marL="720000" indent="-180000">
              <a:spcBef>
                <a:spcPts val="300"/>
              </a:spcBef>
              <a:spcAft>
                <a:spcPts val="300"/>
              </a:spcAft>
              <a:buClr>
                <a:schemeClr val="accent4"/>
              </a:buClr>
              <a:buFont typeface="Symbol" pitchFamily="18" charset="2"/>
              <a:buChar char="-"/>
              <a:defRPr sz="10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33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3203810" y="1196975"/>
            <a:ext cx="1152525" cy="1511300"/>
          </a:xfr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809545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 flipH="1">
            <a:off x="0" y="342900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dirty="0" smtClean="0"/>
              <a:t>&lt;Ihre Ansprechpartner&gt;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0825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16020" y="4724400"/>
            <a:ext cx="4177155" cy="144145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4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 smtClean="0"/>
              <a:t>Vorname Nachnam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7" name="Picture 31" descr="K:\Senacor Technologies (steercom)\05_Präsentationsgestaltung\Vaino, Raphael\Neues Logo\Logo Senacor_sw_EMF.emf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9430" y="2608338"/>
            <a:ext cx="3060000" cy="52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6AAF10-A9A0-4D23-A804-9F7531110564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2883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/>
        </p:nvSpPr>
        <p:spPr bwMode="gray">
          <a:xfrm>
            <a:off x="0" y="6524626"/>
            <a:ext cx="9144000" cy="333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>
            <p:custDataLst>
              <p:tags r:id="rId3"/>
            </p:custDataLst>
          </p:nvPr>
        </p:nvSpPr>
        <p:spPr bwMode="gray">
          <a:xfrm>
            <a:off x="251970" y="6524624"/>
            <a:ext cx="1367620" cy="333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250825" y="3429000"/>
            <a:ext cx="8642350" cy="935923"/>
          </a:xfrm>
        </p:spPr>
        <p:txBody>
          <a:bodyPr bIns="108000" anchor="b" anchorCtr="0">
            <a:noAutofit/>
          </a:bodyPr>
          <a:lstStyle>
            <a:lvl1pPr>
              <a:defRPr sz="2200">
                <a:solidFill>
                  <a:schemeClr val="accent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250825" y="4365130"/>
            <a:ext cx="8642350" cy="1080357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13FBBC-8722-4D8C-891E-A8BCF7E2DD9A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1968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 bwMode="gray">
          <a:xfrm>
            <a:off x="250825" y="1628751"/>
            <a:ext cx="8642350" cy="4537099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2446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4643438" y="1628775"/>
            <a:ext cx="4249737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748B9-88C4-4816-A272-8F2AD59942F5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927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Querforma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8642350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8642350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A880631-A619-468F-8150-6BBC68E05E60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673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5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250826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9" name="Inhaltsplatzhalter 5"/>
          <p:cNvSpPr>
            <a:spLocks noGrp="1"/>
          </p:cNvSpPr>
          <p:nvPr>
            <p:ph sz="quarter" idx="18"/>
          </p:nvPr>
        </p:nvSpPr>
        <p:spPr bwMode="gray">
          <a:xfrm>
            <a:off x="4642861" y="1628775"/>
            <a:ext cx="4249738" cy="23763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Inhaltsplatzhalter 12"/>
          <p:cNvSpPr>
            <a:spLocks noGrp="1"/>
          </p:cNvSpPr>
          <p:nvPr>
            <p:ph sz="quarter" idx="19"/>
          </p:nvPr>
        </p:nvSpPr>
        <p:spPr bwMode="gray">
          <a:xfrm>
            <a:off x="4642862" y="4221110"/>
            <a:ext cx="4249738" cy="194474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7B8CD47-D41E-4B60-A93C-3B8A1E32031C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55735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 bwMode="gray">
          <a:xfrm>
            <a:off x="250824" y="1628775"/>
            <a:ext cx="68421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2643510-3B0C-43FA-A71D-6291D3BE084C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858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Margina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4"/>
          </p:nvPr>
        </p:nvSpPr>
        <p:spPr bwMode="gray">
          <a:xfrm>
            <a:off x="7308850" y="1628775"/>
            <a:ext cx="1584325" cy="45370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D8E4B05-8DF8-4C35-9AD7-17821B4794AA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945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1969" y="1628775"/>
            <a:ext cx="6840981" cy="2592388"/>
          </a:xfrm>
        </p:spPr>
        <p:txBody>
          <a:bodyPr anchor="b"/>
          <a:lstStyle>
            <a:lvl1pPr marL="180975" indent="-180975">
              <a:defRPr sz="2200"/>
            </a:lvl1pPr>
          </a:lstStyle>
          <a:p>
            <a:r>
              <a:rPr lang="de-DE" dirty="0" smtClean="0"/>
              <a:t>„Hier steht das Zitat“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261030"/>
            <a:ext cx="6842125" cy="431590"/>
          </a:xfrm>
        </p:spPr>
        <p:txBody>
          <a:bodyPr bIns="36000" anchor="b" anchorCtr="0"/>
          <a:lstStyle>
            <a:lvl1pPr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 smtClean="0"/>
              <a:t>Bitte Kapitelüberschrift einge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4365625"/>
            <a:ext cx="6842125" cy="287338"/>
          </a:xfrm>
        </p:spPr>
        <p:txBody>
          <a:bodyPr/>
          <a:lstStyle>
            <a:lvl1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1pPr>
            <a:lvl2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2pPr>
            <a:lvl3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3pPr>
            <a:lvl4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4pPr>
            <a:lvl5pPr marL="162000" indent="0">
              <a:buFont typeface="Arial" pitchFamily="34" charset="0"/>
              <a:buNone/>
              <a:defRPr b="0">
                <a:solidFill>
                  <a:schemeClr val="tx1"/>
                </a:solidFill>
              </a:defRPr>
            </a:lvl5pPr>
            <a:lvl6pPr marL="162000" indent="0">
              <a:buNone/>
              <a:defRPr/>
            </a:lvl6pPr>
            <a:lvl7pPr marL="162000" indent="0">
              <a:buNone/>
              <a:defRPr/>
            </a:lvl7pPr>
            <a:lvl8pPr marL="162000" indent="0">
              <a:buNone/>
              <a:defRPr/>
            </a:lvl8pPr>
            <a:lvl9pPr marL="162000" indent="0">
              <a:buNone/>
              <a:defRPr/>
            </a:lvl9pPr>
          </a:lstStyle>
          <a:p>
            <a:pPr lvl="0"/>
            <a:r>
              <a:rPr lang="de-DE" dirty="0" smtClean="0"/>
              <a:t>Hier steht der Autor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B8A89D-21FC-47B7-A13C-BEB7BC0CEE08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265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5.xml"/><Relationship Id="rId21" Type="http://schemas.openxmlformats.org/officeDocument/2006/relationships/tags" Target="../tags/tag6.xml"/><Relationship Id="rId22" Type="http://schemas.openxmlformats.org/officeDocument/2006/relationships/tags" Target="../tags/tag7.xml"/><Relationship Id="rId23" Type="http://schemas.openxmlformats.org/officeDocument/2006/relationships/tags" Target="../tags/tag8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2.xml"/><Relationship Id="rId18" Type="http://schemas.openxmlformats.org/officeDocument/2006/relationships/tags" Target="../tags/tag3.xml"/><Relationship Id="rId1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gray">
          <a:xfrm>
            <a:off x="0" y="6525430"/>
            <a:ext cx="9144000" cy="332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51969" y="908650"/>
            <a:ext cx="8640631" cy="504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251970" y="1628750"/>
            <a:ext cx="8640630" cy="4537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251970" y="6525430"/>
            <a:ext cx="1367620" cy="33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/>
          <a:p>
            <a:pPr algn="l"/>
            <a:r>
              <a:rPr lang="de-DE" sz="800" dirty="0" smtClean="0">
                <a:solidFill>
                  <a:schemeClr val="bg2"/>
                </a:solidFill>
              </a:rPr>
              <a:t>Senacor Technologies</a:t>
            </a:r>
            <a:r>
              <a:rPr lang="de-DE" sz="800" baseline="0" dirty="0" smtClean="0">
                <a:solidFill>
                  <a:schemeClr val="bg2"/>
                </a:solidFill>
              </a:rPr>
              <a:t> AG</a:t>
            </a:r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1748410" y="6525430"/>
            <a:ext cx="735300" cy="333613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4FDEB67-925E-45B5-BD47-77FD69118CB4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6500" y="6525430"/>
            <a:ext cx="5616000" cy="332570"/>
          </a:xfrm>
          <a:prstGeom prst="rect">
            <a:avLst/>
          </a:prstGeom>
        </p:spPr>
        <p:txBody>
          <a:bodyPr vert="horz" lIns="0" tIns="0" rIns="0" bIns="126000" rtlCol="0" anchor="b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8244510" y="6525430"/>
            <a:ext cx="648664" cy="331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26000" rtlCol="0" anchor="b" anchorCtr="0"/>
          <a:lstStyle>
            <a:lvl1pPr marL="0" algn="r" defTabSz="914400" rtl="0" eaLnBrk="1" latinLnBrk="0" hangingPunct="1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CC26C6A-0CF6-4B2A-95E7-F1C069A122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VCT_Marker_ID_12" hidden="1"/>
          <p:cNvSpPr/>
          <p:nvPr>
            <p:custDataLst>
              <p:tags r:id="rId2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7"/>
          <p:cNvCxnSpPr/>
          <p:nvPr/>
        </p:nvCxnSpPr>
        <p:spPr bwMode="gray">
          <a:xfrm flipH="1">
            <a:off x="0" y="692620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31" descr="K:\Senacor Technologies (steercom)\05_Präsentationsgestaltung\Vaino, Raphael\Neues Logo\Logo Senacor_sw_EMF.e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480" y="315390"/>
            <a:ext cx="1764000" cy="3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53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62" r:id="rId3"/>
    <p:sldLayoutId id="2147483663" r:id="rId4"/>
    <p:sldLayoutId id="2147483668" r:id="rId5"/>
    <p:sldLayoutId id="2147483669" r:id="rId6"/>
    <p:sldLayoutId id="2147483666" r:id="rId7"/>
    <p:sldLayoutId id="2147483667" r:id="rId8"/>
    <p:sldLayoutId id="2147483673" r:id="rId9"/>
    <p:sldLayoutId id="2147483664" r:id="rId10"/>
    <p:sldLayoutId id="2147483665" r:id="rId11"/>
    <p:sldLayoutId id="2147483670" r:id="rId12"/>
    <p:sldLayoutId id="2147483674" r:id="rId13"/>
    <p:sldLayoutId id="2147483672" r:id="rId14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spcAft>
          <a:spcPts val="400"/>
        </a:spcAft>
        <a:buFont typeface="Arial" pitchFamily="34" charset="0"/>
        <a:buNone/>
        <a:tabLst>
          <a:tab pos="180975" algn="l"/>
        </a:tabLst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spcBef>
          <a:spcPts val="400"/>
        </a:spcBef>
        <a:spcAft>
          <a:spcPts val="400"/>
        </a:spcAft>
        <a:buClr>
          <a:schemeClr val="accent3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diagramData" Target="../diagrams/data3.xml"/><Relationship Id="rId8" Type="http://schemas.openxmlformats.org/officeDocument/2006/relationships/diagramLayout" Target="../diagrams/layout3.xml"/><Relationship Id="rId9" Type="http://schemas.openxmlformats.org/officeDocument/2006/relationships/diagramQuickStyle" Target="../diagrams/quickStyle3.xml"/><Relationship Id="rId10" Type="http://schemas.openxmlformats.org/officeDocument/2006/relationships/diagramColors" Target="../diagrams/colors3.xml"/><Relationship Id="rId11" Type="http://schemas.microsoft.com/office/2007/relationships/diagramDrawing" Target="../diagrams/drawing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7" Type="http://schemas.openxmlformats.org/officeDocument/2006/relationships/diagramData" Target="../diagrams/data5.xml"/><Relationship Id="rId8" Type="http://schemas.openxmlformats.org/officeDocument/2006/relationships/diagramLayout" Target="../diagrams/layout5.xml"/><Relationship Id="rId9" Type="http://schemas.openxmlformats.org/officeDocument/2006/relationships/diagramQuickStyle" Target="../diagrams/quickStyle5.xml"/><Relationship Id="rId10" Type="http://schemas.openxmlformats.org/officeDocument/2006/relationships/diagramColors" Target="../diagrams/colors5.xml"/><Relationship Id="rId11" Type="http://schemas.microsoft.com/office/2007/relationships/diagramDrawing" Target="../diagrams/drawing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4" Type="http://schemas.openxmlformats.org/officeDocument/2006/relationships/diagramQuickStyle" Target="../diagrams/quickStyle6.xml"/><Relationship Id="rId5" Type="http://schemas.openxmlformats.org/officeDocument/2006/relationships/diagramColors" Target="../diagrams/colors6.xml"/><Relationship Id="rId6" Type="http://schemas.microsoft.com/office/2007/relationships/diagramDrawing" Target="../diagrams/drawing6.xml"/><Relationship Id="rId7" Type="http://schemas.openxmlformats.org/officeDocument/2006/relationships/diagramData" Target="../diagrams/data7.xml"/><Relationship Id="rId8" Type="http://schemas.openxmlformats.org/officeDocument/2006/relationships/diagramLayout" Target="../diagrams/layout7.xml"/><Relationship Id="rId9" Type="http://schemas.openxmlformats.org/officeDocument/2006/relationships/diagramQuickStyle" Target="../diagrams/quickStyle7.xml"/><Relationship Id="rId10" Type="http://schemas.openxmlformats.org/officeDocument/2006/relationships/diagramColors" Target="../diagrams/colors7.xml"/><Relationship Id="rId11" Type="http://schemas.microsoft.com/office/2007/relationships/diagramDrawing" Target="../diagrams/drawing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4" Type="http://schemas.openxmlformats.org/officeDocument/2006/relationships/diagramQuickStyle" Target="../diagrams/quickStyle8.xml"/><Relationship Id="rId5" Type="http://schemas.openxmlformats.org/officeDocument/2006/relationships/diagramColors" Target="../diagrams/colors8.xml"/><Relationship Id="rId6" Type="http://schemas.microsoft.com/office/2007/relationships/diagramDrawing" Target="../diagrams/drawing8.xml"/><Relationship Id="rId7" Type="http://schemas.openxmlformats.org/officeDocument/2006/relationships/diagramData" Target="../diagrams/data9.xml"/><Relationship Id="rId8" Type="http://schemas.openxmlformats.org/officeDocument/2006/relationships/diagramLayout" Target="../diagrams/layout9.xml"/><Relationship Id="rId9" Type="http://schemas.openxmlformats.org/officeDocument/2006/relationships/diagramQuickStyle" Target="../diagrams/quickStyle9.xml"/><Relationship Id="rId10" Type="http://schemas.openxmlformats.org/officeDocument/2006/relationships/diagramColors" Target="../diagrams/colors9.xml"/><Relationship Id="rId11" Type="http://schemas.microsoft.com/office/2007/relationships/diagramDrawing" Target="../diagrams/drawing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4" Type="http://schemas.openxmlformats.org/officeDocument/2006/relationships/diagramQuickStyle" Target="../diagrams/quickStyle10.xml"/><Relationship Id="rId5" Type="http://schemas.openxmlformats.org/officeDocument/2006/relationships/diagramColors" Target="../diagrams/colors10.xml"/><Relationship Id="rId6" Type="http://schemas.microsoft.com/office/2007/relationships/diagramDrawing" Target="../diagrams/drawing10.xml"/><Relationship Id="rId7" Type="http://schemas.openxmlformats.org/officeDocument/2006/relationships/diagramData" Target="../diagrams/data11.xml"/><Relationship Id="rId8" Type="http://schemas.openxmlformats.org/officeDocument/2006/relationships/diagramLayout" Target="../diagrams/layout11.xml"/><Relationship Id="rId9" Type="http://schemas.openxmlformats.org/officeDocument/2006/relationships/diagramQuickStyle" Target="../diagrams/quickStyle11.xml"/><Relationship Id="rId10" Type="http://schemas.openxmlformats.org/officeDocument/2006/relationships/diagramColors" Target="../diagrams/colors11.xml"/><Relationship Id="rId11" Type="http://schemas.microsoft.com/office/2007/relationships/diagramDrawing" Target="../diagrams/drawing1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4" Type="http://schemas.openxmlformats.org/officeDocument/2006/relationships/diagramQuickStyle" Target="../diagrams/quickStyle12.xml"/><Relationship Id="rId5" Type="http://schemas.openxmlformats.org/officeDocument/2006/relationships/diagramColors" Target="../diagrams/colors12.xml"/><Relationship Id="rId6" Type="http://schemas.microsoft.com/office/2007/relationships/diagramDrawing" Target="../diagrams/drawing12.xml"/><Relationship Id="rId7" Type="http://schemas.openxmlformats.org/officeDocument/2006/relationships/diagramData" Target="../diagrams/data13.xml"/><Relationship Id="rId8" Type="http://schemas.openxmlformats.org/officeDocument/2006/relationships/diagramLayout" Target="../diagrams/layout13.xml"/><Relationship Id="rId9" Type="http://schemas.openxmlformats.org/officeDocument/2006/relationships/diagramQuickStyle" Target="../diagrams/quickStyle13.xml"/><Relationship Id="rId10" Type="http://schemas.openxmlformats.org/officeDocument/2006/relationships/diagramColors" Target="../diagrams/colors13.xml"/><Relationship Id="rId11" Type="http://schemas.microsoft.com/office/2007/relationships/diagramDrawing" Target="../diagrams/drawing1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4" Type="http://schemas.openxmlformats.org/officeDocument/2006/relationships/diagramQuickStyle" Target="../diagrams/quickStyle14.xml"/><Relationship Id="rId5" Type="http://schemas.openxmlformats.org/officeDocument/2006/relationships/diagramColors" Target="../diagrams/colors14.xml"/><Relationship Id="rId6" Type="http://schemas.microsoft.com/office/2007/relationships/diagramDrawing" Target="../diagrams/drawing14.xml"/><Relationship Id="rId7" Type="http://schemas.openxmlformats.org/officeDocument/2006/relationships/diagramData" Target="../diagrams/data15.xml"/><Relationship Id="rId8" Type="http://schemas.openxmlformats.org/officeDocument/2006/relationships/diagramLayout" Target="../diagrams/layout15.xml"/><Relationship Id="rId9" Type="http://schemas.openxmlformats.org/officeDocument/2006/relationships/diagramQuickStyle" Target="../diagrams/quickStyle15.xml"/><Relationship Id="rId10" Type="http://schemas.openxmlformats.org/officeDocument/2006/relationships/diagramColors" Target="../diagrams/colors15.xml"/><Relationship Id="rId11" Type="http://schemas.microsoft.com/office/2007/relationships/diagramDrawing" Target="../diagrams/drawing15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4" Type="http://schemas.openxmlformats.org/officeDocument/2006/relationships/diagramQuickStyle" Target="../diagrams/quickStyle16.xml"/><Relationship Id="rId5" Type="http://schemas.openxmlformats.org/officeDocument/2006/relationships/diagramColors" Target="../diagrams/colors16.xml"/><Relationship Id="rId6" Type="http://schemas.microsoft.com/office/2007/relationships/diagramDrawing" Target="../diagrams/drawing16.xml"/><Relationship Id="rId7" Type="http://schemas.openxmlformats.org/officeDocument/2006/relationships/diagramData" Target="../diagrams/data17.xml"/><Relationship Id="rId8" Type="http://schemas.openxmlformats.org/officeDocument/2006/relationships/diagramLayout" Target="../diagrams/layout17.xml"/><Relationship Id="rId9" Type="http://schemas.openxmlformats.org/officeDocument/2006/relationships/diagramQuickStyle" Target="../diagrams/quickStyle17.xml"/><Relationship Id="rId10" Type="http://schemas.openxmlformats.org/officeDocument/2006/relationships/diagramColors" Target="../diagrams/colors17.xml"/><Relationship Id="rId11" Type="http://schemas.microsoft.com/office/2007/relationships/diagramDrawing" Target="../diagrams/drawing17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4" Type="http://schemas.openxmlformats.org/officeDocument/2006/relationships/diagramQuickStyle" Target="../diagrams/quickStyle18.xml"/><Relationship Id="rId5" Type="http://schemas.openxmlformats.org/officeDocument/2006/relationships/diagramColors" Target="../diagrams/colors18.xml"/><Relationship Id="rId6" Type="http://schemas.microsoft.com/office/2007/relationships/diagramDrawing" Target="../diagrams/drawing18.xml"/><Relationship Id="rId7" Type="http://schemas.openxmlformats.org/officeDocument/2006/relationships/diagramData" Target="../diagrams/data19.xml"/><Relationship Id="rId8" Type="http://schemas.openxmlformats.org/officeDocument/2006/relationships/diagramLayout" Target="../diagrams/layout19.xml"/><Relationship Id="rId9" Type="http://schemas.openxmlformats.org/officeDocument/2006/relationships/diagramQuickStyle" Target="../diagrams/quickStyle19.xml"/><Relationship Id="rId10" Type="http://schemas.openxmlformats.org/officeDocument/2006/relationships/diagramColors" Target="../diagrams/colors19.xml"/><Relationship Id="rId11" Type="http://schemas.microsoft.com/office/2007/relationships/diagramDrawing" Target="../diagrams/drawing19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4" Type="http://schemas.openxmlformats.org/officeDocument/2006/relationships/diagramQuickStyle" Target="../diagrams/quickStyle20.xml"/><Relationship Id="rId5" Type="http://schemas.openxmlformats.org/officeDocument/2006/relationships/diagramColors" Target="../diagrams/colors20.xml"/><Relationship Id="rId6" Type="http://schemas.microsoft.com/office/2007/relationships/diagramDrawing" Target="../diagrams/drawing20.xml"/><Relationship Id="rId7" Type="http://schemas.openxmlformats.org/officeDocument/2006/relationships/diagramData" Target="../diagrams/data21.xml"/><Relationship Id="rId8" Type="http://schemas.openxmlformats.org/officeDocument/2006/relationships/diagramLayout" Target="../diagrams/layout21.xml"/><Relationship Id="rId9" Type="http://schemas.openxmlformats.org/officeDocument/2006/relationships/diagramQuickStyle" Target="../diagrams/quickStyle21.xml"/><Relationship Id="rId10" Type="http://schemas.openxmlformats.org/officeDocument/2006/relationships/diagramColors" Target="../diagrams/colors21.xml"/><Relationship Id="rId11" Type="http://schemas.microsoft.com/office/2007/relationships/diagramDrawing" Target="../diagrams/drawing21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4" Type="http://schemas.openxmlformats.org/officeDocument/2006/relationships/diagramQuickStyle" Target="../diagrams/quickStyle22.xml"/><Relationship Id="rId5" Type="http://schemas.openxmlformats.org/officeDocument/2006/relationships/diagramColors" Target="../diagrams/colors22.xml"/><Relationship Id="rId6" Type="http://schemas.microsoft.com/office/2007/relationships/diagramDrawing" Target="../diagrams/drawing22.xml"/><Relationship Id="rId7" Type="http://schemas.openxmlformats.org/officeDocument/2006/relationships/diagramData" Target="../diagrams/data23.xml"/><Relationship Id="rId8" Type="http://schemas.openxmlformats.org/officeDocument/2006/relationships/diagramLayout" Target="../diagrams/layout23.xml"/><Relationship Id="rId9" Type="http://schemas.openxmlformats.org/officeDocument/2006/relationships/diagramQuickStyle" Target="../diagrams/quickStyle23.xml"/><Relationship Id="rId10" Type="http://schemas.openxmlformats.org/officeDocument/2006/relationships/diagramColors" Target="../diagrams/colors23.xml"/><Relationship Id="rId11" Type="http://schemas.microsoft.com/office/2007/relationships/diagramDrawing" Target="../diagrams/drawing23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dirty="0" smtClean="0"/>
              <a:t>Mapping Frameworks in Actio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 smtClean="0"/>
              <a:t>Schwaig b. Nürnberg, </a:t>
            </a:r>
            <a:fld id="{926F3AC8-AE74-4ACF-8AA8-751610311A88}" type="datetime1">
              <a:rPr lang="de-DE" smtClean="0"/>
              <a:t>27.08.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30764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7283800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96744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Beispiel: Mapping Book  &lt;-&gt;  </a:t>
            </a:r>
            <a:r>
              <a:rPr lang="de-DE" dirty="0" err="1" smtClean="0"/>
              <a:t>BookDTO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58507609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8385198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8764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 smtClean="0"/>
              <a:t>Gruppe 1 (Simple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2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3275977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7401434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2 (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3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68385266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3848454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554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3 (Simple Type </a:t>
            </a:r>
            <a:r>
              <a:rPr lang="de-DE" dirty="0" err="1" smtClean="0"/>
              <a:t>Conversion</a:t>
            </a:r>
            <a:r>
              <a:rPr lang="de-DE" dirty="0" smtClean="0"/>
              <a:t> z.B.: Date &lt;-&gt; </a:t>
            </a:r>
            <a:r>
              <a:rPr lang="de-DE" dirty="0" err="1" smtClean="0"/>
              <a:t>Calendar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4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81590752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111865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4</a:t>
            </a:r>
            <a:r>
              <a:rPr lang="de-DE" dirty="0" smtClean="0"/>
              <a:t> (</a:t>
            </a:r>
            <a:r>
              <a:rPr lang="de-DE" dirty="0" err="1" smtClean="0"/>
              <a:t>Deep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Mapping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913543760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33219100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5 (</a:t>
            </a:r>
            <a:r>
              <a:rPr lang="de-DE" dirty="0" err="1" smtClean="0"/>
              <a:t>Collection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6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24379251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312282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2146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7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794561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960956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8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08160958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9861807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hteck 18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  <a:endParaRPr lang="de-DE" sz="1400" dirty="0" smtClean="0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756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19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229151779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07192165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pierung 18"/>
          <p:cNvGrpSpPr/>
          <p:nvPr/>
        </p:nvGrpSpPr>
        <p:grpSpPr>
          <a:xfrm>
            <a:off x="5065668" y="6187674"/>
            <a:ext cx="1335170" cy="409678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0" name="Rechteck 19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hteck 2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100" kern="1200" dirty="0" err="1" smtClean="0"/>
                <a:t>NovelDTO</a:t>
              </a:r>
              <a:endParaRPr lang="de-DE" sz="1100" kern="1200" dirty="0"/>
            </a:p>
          </p:txBody>
        </p:sp>
      </p:grpSp>
      <p:grpSp>
        <p:nvGrpSpPr>
          <p:cNvPr id="23" name="Gruppierung 22"/>
          <p:cNvGrpSpPr/>
          <p:nvPr/>
        </p:nvGrpSpPr>
        <p:grpSpPr>
          <a:xfrm>
            <a:off x="6937876" y="6165303"/>
            <a:ext cx="1666572" cy="432049"/>
            <a:chOff x="725640" y="3621287"/>
            <a:chExt cx="1450548" cy="477957"/>
          </a:xfrm>
          <a:solidFill>
            <a:srgbClr val="404040"/>
          </a:solidFill>
        </p:grpSpPr>
        <p:sp>
          <p:nvSpPr>
            <p:cNvPr id="24" name="Rechteck 2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echteck 25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50" kern="1200" dirty="0" err="1" smtClean="0"/>
                <a:t>NonFictionBookDTO</a:t>
              </a:r>
              <a:endParaRPr lang="de-DE" sz="1050" kern="1200" dirty="0"/>
            </a:p>
          </p:txBody>
        </p:sp>
      </p:grpSp>
      <p:cxnSp>
        <p:nvCxnSpPr>
          <p:cNvPr id="27" name="Gewinkelte Verbindung 26"/>
          <p:cNvCxnSpPr>
            <a:stCxn id="20" idx="0"/>
            <a:endCxn id="16" idx="2"/>
          </p:cNvCxnSpPr>
          <p:nvPr/>
        </p:nvCxnSpPr>
        <p:spPr bwMode="gray">
          <a:xfrm rot="16200000" flipV="1">
            <a:off x="4691392" y="5145812"/>
            <a:ext cx="1534538" cy="549185"/>
          </a:xfrm>
          <a:prstGeom prst="bentConnector3">
            <a:avLst>
              <a:gd name="adj1" fmla="val 789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24" idx="0"/>
            <a:endCxn id="16" idx="2"/>
          </p:cNvCxnSpPr>
          <p:nvPr/>
        </p:nvCxnSpPr>
        <p:spPr bwMode="gray">
          <a:xfrm rot="16200000" flipV="1">
            <a:off x="5721532" y="4115673"/>
            <a:ext cx="1512167" cy="2587094"/>
          </a:xfrm>
          <a:prstGeom prst="bentConnector3">
            <a:avLst>
              <a:gd name="adj1" fmla="val 6536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 bwMode="gray">
          <a:xfrm>
            <a:off x="5004048" y="4509120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/>
        </p:nvSpPr>
        <p:spPr bwMode="gray">
          <a:xfrm rot="1018948">
            <a:off x="6283105" y="869492"/>
            <a:ext cx="2304256" cy="72008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Wird durch das Beispiel nicht abgedeckt !</a:t>
            </a:r>
            <a:endParaRPr lang="de-DE" sz="1400" dirty="0" smtClean="0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5187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Johannes Schwalb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enior 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188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172) </a:t>
            </a:r>
            <a:r>
              <a:rPr lang="de-DE" dirty="0" smtClean="0"/>
              <a:t>89 35 005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johannes.schwalb@senacor.com</a:t>
            </a: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156B859-72DC-41D4-A75F-9F8F40C2DC5F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531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6 (</a:t>
            </a:r>
            <a:r>
              <a:rPr lang="de-DE" dirty="0" err="1" smtClean="0"/>
              <a:t>Inheritance</a:t>
            </a:r>
            <a:r>
              <a:rPr lang="de-DE" dirty="0" smtClean="0"/>
              <a:t> Mapping</a:t>
            </a:r>
            <a:r>
              <a:rPr lang="de-DE" dirty="0"/>
              <a:t>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0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85796437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79234952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850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908720"/>
            <a:ext cx="8640631" cy="504225"/>
          </a:xfrm>
        </p:spPr>
        <p:txBody>
          <a:bodyPr/>
          <a:lstStyle/>
          <a:p>
            <a:r>
              <a:rPr lang="de-DE" dirty="0"/>
              <a:t>Gruppe </a:t>
            </a:r>
            <a:r>
              <a:rPr lang="de-DE" dirty="0" smtClean="0"/>
              <a:t>7 </a:t>
            </a:r>
            <a:r>
              <a:rPr lang="de-DE" dirty="0"/>
              <a:t>(</a:t>
            </a:r>
            <a:r>
              <a:rPr lang="de-DE" dirty="0" err="1" smtClean="0"/>
              <a:t>Inheritance</a:t>
            </a:r>
            <a:r>
              <a:rPr lang="de-DE" dirty="0" smtClean="0"/>
              <a:t> </a:t>
            </a:r>
            <a:r>
              <a:rPr lang="de-DE" dirty="0" err="1" smtClean="0"/>
              <a:t>Enum</a:t>
            </a:r>
            <a:r>
              <a:rPr lang="de-DE" dirty="0" smtClean="0"/>
              <a:t> </a:t>
            </a:r>
            <a:r>
              <a:rPr lang="de-DE" dirty="0"/>
              <a:t>Mapping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15B2380-E3B7-4FA1-AA00-CA1A3953547F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1</a:t>
            </a:fld>
            <a:endParaRPr lang="de-DE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24848403"/>
              </p:ext>
            </p:extLst>
          </p:nvPr>
        </p:nvGraphicFramePr>
        <p:xfrm>
          <a:off x="467544" y="1196752"/>
          <a:ext cx="396044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0159998"/>
              </p:ext>
            </p:extLst>
          </p:nvPr>
        </p:nvGraphicFramePr>
        <p:xfrm>
          <a:off x="4909758" y="1344331"/>
          <a:ext cx="381642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uppierung 9"/>
          <p:cNvGrpSpPr/>
          <p:nvPr/>
        </p:nvGrpSpPr>
        <p:grpSpPr>
          <a:xfrm>
            <a:off x="395536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" name="Rechteck 10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hteck 11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kern="1200" dirty="0" err="1" smtClean="0"/>
                <a:t>Novel</a:t>
              </a:r>
              <a:endParaRPr lang="de-DE" sz="1400" kern="1200" dirty="0"/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2267744" y="5903371"/>
            <a:ext cx="1450548" cy="477957"/>
            <a:chOff x="725640" y="3621287"/>
            <a:chExt cx="1450548" cy="47795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4" name="Rechteck 13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hteck 14"/>
            <p:cNvSpPr/>
            <p:nvPr/>
          </p:nvSpPr>
          <p:spPr>
            <a:xfrm>
              <a:off x="725640" y="3621287"/>
              <a:ext cx="1450548" cy="47795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200" kern="1200" dirty="0" err="1" smtClean="0"/>
                <a:t>NonFictionBook</a:t>
              </a:r>
              <a:endParaRPr lang="de-DE" sz="1200" kern="1200" dirty="0"/>
            </a:p>
          </p:txBody>
        </p:sp>
      </p:grpSp>
      <p:cxnSp>
        <p:nvCxnSpPr>
          <p:cNvPr id="18" name="Gewinkelte Verbindung 17"/>
          <p:cNvCxnSpPr>
            <a:stCxn id="11" idx="0"/>
            <a:endCxn id="22" idx="2"/>
          </p:cNvCxnSpPr>
          <p:nvPr/>
        </p:nvCxnSpPr>
        <p:spPr bwMode="gray">
          <a:xfrm rot="16200000" flipV="1">
            <a:off x="223066" y="5005627"/>
            <a:ext cx="1322243" cy="473246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 bwMode="gray">
          <a:xfrm>
            <a:off x="467544" y="4437112"/>
            <a:ext cx="360040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cxnSp>
        <p:nvCxnSpPr>
          <p:cNvPr id="25" name="Gewinkelte Verbindung 24"/>
          <p:cNvCxnSpPr>
            <a:stCxn id="14" idx="0"/>
            <a:endCxn id="22" idx="2"/>
          </p:cNvCxnSpPr>
          <p:nvPr/>
        </p:nvCxnSpPr>
        <p:spPr bwMode="gray">
          <a:xfrm rot="16200000" flipV="1">
            <a:off x="1159170" y="4069523"/>
            <a:ext cx="1322243" cy="2345454"/>
          </a:xfrm>
          <a:prstGeom prst="bentConnector3">
            <a:avLst>
              <a:gd name="adj1" fmla="val 11245"/>
            </a:avLst>
          </a:prstGeom>
          <a:ln w="95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>
            <a:stCxn id="2" idx="2"/>
          </p:cNvCxnSpPr>
          <p:nvPr/>
        </p:nvCxnSpPr>
        <p:spPr bwMode="gray">
          <a:xfrm>
            <a:off x="4715852" y="1412945"/>
            <a:ext cx="164" cy="4752359"/>
          </a:xfrm>
          <a:prstGeom prst="line">
            <a:avLst/>
          </a:pr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7429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Übersicht Frameworks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2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3563185"/>
              </p:ext>
            </p:extLst>
          </p:nvPr>
        </p:nvGraphicFramePr>
        <p:xfrm>
          <a:off x="323528" y="1268760"/>
          <a:ext cx="7992889" cy="496855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800202"/>
                <a:gridCol w="1152128"/>
                <a:gridCol w="1080120"/>
                <a:gridCol w="565777"/>
                <a:gridCol w="565777"/>
                <a:gridCol w="565777"/>
                <a:gridCol w="565777"/>
                <a:gridCol w="565777"/>
                <a:gridCol w="565777"/>
                <a:gridCol w="565777"/>
              </a:tblGrid>
              <a:tr h="1896099"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mework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Vers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at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Simpl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Type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nv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.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Deep</a:t>
                      </a:r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Object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llection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nheritance</a:t>
                      </a:r>
                      <a:r>
                        <a:rPr lang="de-DE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  <a:r>
                        <a:rPr lang="de-DE" baseline="0" dirty="0" err="1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Enums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3"/>
                    </a:solidFill>
                  </a:tcPr>
                </a:tc>
              </a:tr>
              <a:tr h="442423"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1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2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3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4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5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6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G7</a:t>
                      </a:r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b">
                    <a:solidFill>
                      <a:schemeClr val="accent3"/>
                    </a:solidFill>
                  </a:tcPr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smtClean="0"/>
                        <a:t>Model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0.7.2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6.06.14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.4.5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4.03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5.5.1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2.04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x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o</a:t>
                      </a:r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8.06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JMapper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.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16.02.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  <a:tr h="438338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oo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.0</a:t>
                      </a:r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smtClean="0"/>
                        <a:t>23.05.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1392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9D24BFC-A115-49FE-B58E-E49EBCCBC2B0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98434460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8188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Titl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bookDTO.setPublisher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Publisher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ReleaseDat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getReleaseDate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getTi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uthor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book.getAuthor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Fir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Fir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LastNam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LastNam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AuthorBirthda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author.getBirthday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if</a:t>
            </a:r>
            <a:r>
              <a:rPr lang="de-DE" sz="1000" dirty="0">
                <a:latin typeface="Courier New"/>
                <a:cs typeface="Courier New"/>
              </a:rPr>
              <a:t> 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 !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List&lt;String&gt; 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ArrayList</a:t>
            </a:r>
            <a:r>
              <a:rPr lang="de-DE" sz="1000" dirty="0">
                <a:latin typeface="Courier New"/>
                <a:cs typeface="Courier New"/>
              </a:rPr>
              <a:t>&lt;String&gt;(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siz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for</a:t>
            </a:r>
            <a:r>
              <a:rPr lang="de-DE" sz="1000" dirty="0">
                <a:latin typeface="Courier New"/>
                <a:cs typeface="Courier New"/>
              </a:rPr>
              <a:t> (Chapter </a:t>
            </a:r>
            <a:r>
              <a:rPr lang="de-DE" sz="1000" dirty="0" err="1">
                <a:latin typeface="Courier New"/>
                <a:cs typeface="Courier New"/>
              </a:rPr>
              <a:t>chapter</a:t>
            </a:r>
            <a:r>
              <a:rPr lang="de-DE" sz="1000" dirty="0">
                <a:latin typeface="Courier New"/>
                <a:cs typeface="Courier New"/>
              </a:rPr>
              <a:t> : </a:t>
            </a:r>
            <a:r>
              <a:rPr lang="de-DE" sz="1000" dirty="0" err="1">
                <a:latin typeface="Courier New"/>
                <a:cs typeface="Courier New"/>
              </a:rPr>
              <a:t>book.getChapters</a:t>
            </a:r>
            <a:r>
              <a:rPr lang="de-DE" sz="1000" dirty="0">
                <a:latin typeface="Courier New"/>
                <a:cs typeface="Courier New"/>
              </a:rPr>
              <a:t>()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  <a:tab pos="1347788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chapterTitles.add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.getTitle</a:t>
            </a:r>
            <a:r>
              <a:rPr lang="de-DE" sz="1000" dirty="0">
                <a:latin typeface="Courier New"/>
                <a:cs typeface="Courier New"/>
              </a:rPr>
              <a:t>(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</a:t>
            </a:r>
            <a:r>
              <a:rPr lang="de-DE" sz="1000" dirty="0" err="1">
                <a:latin typeface="Courier New"/>
                <a:cs typeface="Courier New"/>
              </a:rPr>
              <a:t>bookDTO.setChapterTitles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600" dirty="0">
                <a:latin typeface="Courier New"/>
                <a:cs typeface="Courier New"/>
              </a:rPr>
              <a:t>..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814D2B3-3C92-494B-9F6B-A0CAF197E060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3203848" y="3284984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9" name="Textfeld 8"/>
          <p:cNvSpPr txBox="1"/>
          <p:nvPr/>
        </p:nvSpPr>
        <p:spPr bwMode="gray">
          <a:xfrm>
            <a:off x="4860032" y="521061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616" y="593069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11" name="Textfeld 10"/>
          <p:cNvSpPr txBox="1"/>
          <p:nvPr/>
        </p:nvSpPr>
        <p:spPr bwMode="gray">
          <a:xfrm>
            <a:off x="5004048" y="3933056"/>
            <a:ext cx="86409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4800" b="1" dirty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!</a:t>
            </a:r>
            <a:endParaRPr lang="de-DE" sz="4800" b="1" dirty="0" smtClean="0">
              <a:solidFill>
                <a:schemeClr val="accent3"/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893437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teile:</a:t>
            </a:r>
          </a:p>
          <a:p>
            <a:pPr marL="285750" indent="-285750">
              <a:buFont typeface="Arial"/>
              <a:buChar char="•"/>
            </a:pPr>
            <a:r>
              <a:rPr lang="de-DE" dirty="0" err="1" smtClean="0"/>
              <a:t>Handwritten</a:t>
            </a:r>
            <a:r>
              <a:rPr lang="de-DE" dirty="0" smtClean="0"/>
              <a:t> Mapping kann jeder Java-Entwickler leicht nachvollziehen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Debugging und </a:t>
            </a:r>
            <a:r>
              <a:rPr lang="de-DE" dirty="0" err="1" smtClean="0"/>
              <a:t>Refactoring</a:t>
            </a:r>
            <a:r>
              <a:rPr lang="de-DE" dirty="0" smtClean="0"/>
              <a:t> wird häufig durch die IDE unterstützt.</a:t>
            </a:r>
          </a:p>
          <a:p>
            <a:pPr marL="285750" indent="-285750">
              <a:buFont typeface="Arial"/>
              <a:buChar char="•"/>
            </a:pPr>
            <a:r>
              <a:rPr lang="de-DE" dirty="0" smtClean="0"/>
              <a:t>Mapping von </a:t>
            </a:r>
            <a:r>
              <a:rPr lang="de-DE" dirty="0" err="1" smtClean="0"/>
              <a:t>Enums</a:t>
            </a:r>
            <a:r>
              <a:rPr lang="de-DE" dirty="0" smtClean="0"/>
              <a:t> auf Klassenhierarchie ist leicht zu erstellen.</a:t>
            </a:r>
          </a:p>
          <a:p>
            <a:pPr marL="285750" indent="-285750">
              <a:buFont typeface="Arial"/>
              <a:buChar char="•"/>
            </a:pPr>
            <a:endParaRPr lang="de-DE" dirty="0" smtClean="0"/>
          </a:p>
          <a:p>
            <a:r>
              <a:rPr lang="de-DE" dirty="0" smtClean="0"/>
              <a:t>Nachtei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Änderungen müssen unter großem Aufwand nachgepfleg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Vergessene Null-Checks führen häufig zu unvorhergesehenen Laufzeitfehler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rotz IDE-Unterstützung macht ein </a:t>
            </a:r>
            <a:r>
              <a:rPr lang="de-DE" dirty="0" err="1" smtClean="0"/>
              <a:t>Refactoring</a:t>
            </a:r>
            <a:r>
              <a:rPr lang="de-DE" dirty="0" smtClean="0"/>
              <a:t> keinen </a:t>
            </a:r>
            <a:r>
              <a:rPr lang="de-DE" dirty="0" err="1" smtClean="0"/>
              <a:t>Spass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hrt zu länglichen Code-Schnipsel (Kapselung) (?????????????????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Insgesamt muss man  </a:t>
            </a:r>
            <a:r>
              <a:rPr lang="de-DE" dirty="0" err="1" smtClean="0"/>
              <a:t>Handwritten</a:t>
            </a:r>
            <a:r>
              <a:rPr lang="de-DE" dirty="0" smtClean="0"/>
              <a:t> Mapping nach einer Schnittstellenänderung sehr viel im Code änder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Handwritten</a:t>
            </a:r>
            <a:r>
              <a:rPr lang="de-DE" dirty="0" smtClean="0"/>
              <a:t> Mappin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F9CC601-E8A0-4192-9E7A-A0A0BC03434B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6411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A272333-F930-450A-9F27-102ED8C1F373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TODO: Standardisierter und gleicher Steckbrief für alle Frameworks… Dies ist nur eine Sammlung was da alles drin stehen mu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urchführung Mapping: </a:t>
            </a:r>
            <a:r>
              <a:rPr lang="de-DE" dirty="0" err="1" smtClean="0"/>
              <a:t>Reflec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Definition: XML, Annotation, AP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Aktuelle Version</a:t>
            </a:r>
            <a:r>
              <a:rPr lang="de-DE" dirty="0"/>
              <a:t>: </a:t>
            </a:r>
            <a:r>
              <a:rPr lang="de-DE" dirty="0" smtClean="0"/>
              <a:t>5.5.1 (22.04.2014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1: </a:t>
            </a:r>
            <a:r>
              <a:rPr lang="de-DE" dirty="0" err="1" smtClean="0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47839C2-A34C-482F-9EEC-87E94E9ADD5D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Java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628751"/>
            <a:ext cx="8642350" cy="4537099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Mapper</a:t>
            </a:r>
            <a:r>
              <a:rPr lang="de-DE" sz="1200" dirty="0">
                <a:latin typeface="Courier New"/>
                <a:cs typeface="Courier New"/>
              </a:rPr>
              <a:t>(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List&lt;String&gt; 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ArrayList</a:t>
            </a:r>
            <a:r>
              <a:rPr lang="de-DE" sz="1200" dirty="0">
                <a:latin typeface="Courier New"/>
                <a:cs typeface="Courier New"/>
              </a:rPr>
              <a:t>&lt;String&gt;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yMappingFiles.add</a:t>
            </a:r>
            <a:r>
              <a:rPr lang="de-DE" sz="1200" dirty="0">
                <a:latin typeface="Courier New"/>
                <a:cs typeface="Courier New"/>
              </a:rPr>
              <a:t>("</a:t>
            </a:r>
            <a:r>
              <a:rPr lang="de-DE" sz="1200" dirty="0" err="1">
                <a:latin typeface="Courier New"/>
                <a:cs typeface="Courier New"/>
              </a:rPr>
              <a:t>dozer-mapping-config.xml</a:t>
            </a:r>
            <a:r>
              <a:rPr lang="de-DE" sz="1200" dirty="0">
                <a:latin typeface="Courier New"/>
                <a:cs typeface="Courier New"/>
              </a:rPr>
              <a:t>"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</a:t>
            </a:r>
            <a:r>
              <a:rPr lang="de-DE" sz="1200" dirty="0">
                <a:latin typeface="Courier New"/>
                <a:cs typeface="Courier New"/>
              </a:rPr>
              <a:t> = </a:t>
            </a:r>
            <a:r>
              <a:rPr lang="de-DE" sz="1200" dirty="0" err="1">
                <a:latin typeface="Courier New"/>
                <a:cs typeface="Courier New"/>
              </a:rPr>
              <a:t>new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DozerBeanMapper</a:t>
            </a:r>
            <a:r>
              <a:rPr lang="de-DE" sz="12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mapper.setMappingFiles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myMappingFile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@</a:t>
            </a:r>
            <a:r>
              <a:rPr lang="de-DE" sz="1200" dirty="0" err="1">
                <a:latin typeface="Courier New"/>
                <a:cs typeface="Courier New"/>
              </a:rPr>
              <a:t>Override</a:t>
            </a:r>
            <a:endParaRPr lang="de-DE" sz="12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 err="1">
                <a:latin typeface="Courier New"/>
                <a:cs typeface="Courier New"/>
              </a:rPr>
              <a:t>public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BookDTO</a:t>
            </a:r>
            <a:r>
              <a:rPr lang="de-DE" sz="1200" dirty="0">
                <a:latin typeface="Courier New"/>
                <a:cs typeface="Courier New"/>
              </a:rPr>
              <a:t> mapEntity2DTO(Book 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</a:t>
            </a:r>
            <a:r>
              <a:rPr lang="de-DE" sz="1200" dirty="0" err="1">
                <a:latin typeface="Courier New"/>
                <a:cs typeface="Courier New"/>
              </a:rPr>
              <a:t>if</a:t>
            </a:r>
            <a:r>
              <a:rPr lang="de-DE" sz="1200" dirty="0">
                <a:latin typeface="Courier New"/>
                <a:cs typeface="Courier New"/>
              </a:rPr>
              <a:t> 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 == null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null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 </a:t>
            </a:r>
            <a:r>
              <a:rPr lang="de-DE" sz="1200" dirty="0" err="1">
                <a:latin typeface="Courier New"/>
                <a:cs typeface="Courier New"/>
              </a:rPr>
              <a:t>else</a:t>
            </a:r>
            <a:r>
              <a:rPr lang="de-DE" sz="1200" dirty="0">
                <a:latin typeface="Courier New"/>
                <a:cs typeface="Courier New"/>
              </a:rPr>
              <a:t>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	</a:t>
            </a:r>
            <a:r>
              <a:rPr lang="de-DE" sz="1200" dirty="0" err="1">
                <a:latin typeface="Courier New"/>
                <a:cs typeface="Courier New"/>
              </a:rPr>
              <a:t>return</a:t>
            </a:r>
            <a:r>
              <a:rPr lang="de-DE" sz="1200" dirty="0">
                <a:latin typeface="Courier New"/>
                <a:cs typeface="Courier New"/>
              </a:rPr>
              <a:t> </a:t>
            </a:r>
            <a:r>
              <a:rPr lang="de-DE" sz="1200" dirty="0" err="1">
                <a:latin typeface="Courier New"/>
                <a:cs typeface="Courier New"/>
              </a:rPr>
              <a:t>mapper.map</a:t>
            </a:r>
            <a:r>
              <a:rPr lang="de-DE" sz="1200" dirty="0">
                <a:latin typeface="Courier New"/>
                <a:cs typeface="Courier New"/>
              </a:rPr>
              <a:t>(</a:t>
            </a:r>
            <a:r>
              <a:rPr lang="de-DE" sz="1200" dirty="0" err="1">
                <a:latin typeface="Courier New"/>
                <a:cs typeface="Courier New"/>
              </a:rPr>
              <a:t>book</a:t>
            </a:r>
            <a:r>
              <a:rPr lang="de-DE" sz="1200" dirty="0">
                <a:latin typeface="Courier New"/>
                <a:cs typeface="Courier New"/>
              </a:rPr>
              <a:t>, </a:t>
            </a:r>
            <a:r>
              <a:rPr lang="de-DE" sz="1200" dirty="0" err="1">
                <a:latin typeface="Courier New"/>
                <a:cs typeface="Courier New"/>
              </a:rPr>
              <a:t>BookDTO.class</a:t>
            </a:r>
            <a:r>
              <a:rPr lang="de-DE" sz="12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	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200" dirty="0">
                <a:latin typeface="Courier New"/>
                <a:cs typeface="Courier New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ius Hüb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veloper</a:t>
            </a:r>
          </a:p>
          <a:p>
            <a:r>
              <a:rPr lang="de-DE" dirty="0" err="1" smtClean="0"/>
              <a:t>Senacor</a:t>
            </a:r>
            <a:r>
              <a:rPr lang="de-DE" dirty="0" smtClean="0"/>
              <a:t> Technologies AG</a:t>
            </a:r>
          </a:p>
          <a:p>
            <a:pPr lvl="1"/>
            <a:r>
              <a:rPr lang="de-DE" dirty="0"/>
              <a:t>Wieseneckstr. 26</a:t>
            </a:r>
            <a:br>
              <a:rPr lang="de-DE" dirty="0"/>
            </a:br>
            <a:r>
              <a:rPr lang="de-DE" dirty="0"/>
              <a:t>90571 Schwaig bei </a:t>
            </a:r>
            <a:r>
              <a:rPr lang="de-DE" dirty="0" err="1"/>
              <a:t>Nbg</a:t>
            </a:r>
            <a:r>
              <a:rPr lang="de-DE" dirty="0"/>
              <a:t>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>
              <a:tabLst>
                <a:tab pos="717550" algn="l"/>
              </a:tabLst>
            </a:pPr>
            <a:r>
              <a:rPr lang="de-DE" dirty="0" smtClean="0"/>
              <a:t>Telefon: </a:t>
            </a:r>
            <a:r>
              <a:rPr lang="de-DE" dirty="0"/>
              <a:t>+49 (911) 4244 - </a:t>
            </a:r>
            <a:r>
              <a:rPr lang="de-DE" dirty="0" smtClean="0"/>
              <a:t>302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Telefax: </a:t>
            </a:r>
            <a:r>
              <a:rPr lang="de-DE" dirty="0"/>
              <a:t>+49 (911) 4244 - </a:t>
            </a:r>
            <a:r>
              <a:rPr lang="de-DE" dirty="0" smtClean="0"/>
              <a:t>100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Mobil:    +</a:t>
            </a:r>
            <a:r>
              <a:rPr lang="de-DE" dirty="0"/>
              <a:t>49 (</a:t>
            </a:r>
            <a:r>
              <a:rPr lang="de-DE" dirty="0" smtClean="0"/>
              <a:t>151) 67 887 927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ius.huebl@senacor.com</a:t>
            </a:r>
            <a:br>
              <a:rPr lang="nb-NO" dirty="0" smtClean="0"/>
            </a:br>
            <a:r>
              <a:rPr lang="nb-NO" dirty="0" smtClean="0"/>
              <a:t>www.senacor.com</a:t>
            </a:r>
            <a:endParaRPr lang="nb-NO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9B0966-77E1-4023-AC3F-8A234A9A841E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6273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 (XML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4146" y="1268761"/>
            <a:ext cx="8642350" cy="4897090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&lt;</a:t>
            </a:r>
            <a:r>
              <a:rPr lang="de-DE" sz="1000" dirty="0" err="1">
                <a:latin typeface="Courier New"/>
                <a:cs typeface="Courier New"/>
              </a:rPr>
              <a:t>mapping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</a:t>
            </a:r>
            <a:r>
              <a:rPr lang="de-DE" sz="1000" dirty="0">
                <a:latin typeface="Courier New"/>
                <a:cs typeface="Courier New"/>
              </a:rPr>
              <a:t>-null="</a:t>
            </a:r>
            <a:r>
              <a:rPr lang="de-DE" sz="1000" dirty="0" err="1">
                <a:latin typeface="Courier New"/>
                <a:cs typeface="Courier New"/>
              </a:rPr>
              <a:t>false</a:t>
            </a:r>
            <a:r>
              <a:rPr lang="de-DE" sz="1000" dirty="0">
                <a:latin typeface="Courier New"/>
                <a:cs typeface="Courier New"/>
              </a:rPr>
              <a:t>"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 		"com.senacor.knowledgetalks.mappingframeworks.mappers.dozer.CustomDozerBookDTO2Book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entities.Book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a&gt;</a:t>
            </a:r>
          </a:p>
          <a:p>
            <a:pPr>
              <a:tabLst>
                <a:tab pos="446088" algn="l"/>
                <a:tab pos="901700" algn="l"/>
                <a:tab pos="1436688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 </a:t>
            </a:r>
            <a:r>
              <a:rPr lang="de-DE" sz="1000" dirty="0" err="1">
                <a:latin typeface="Courier New"/>
                <a:cs typeface="Courier New"/>
              </a:rPr>
              <a:t>bean-factory</a:t>
            </a:r>
            <a:r>
              <a:rPr lang="de-DE" sz="1000" dirty="0" smtClean="0">
                <a:latin typeface="Courier New"/>
                <a:cs typeface="Courier New"/>
              </a:rPr>
              <a:t>=</a:t>
            </a:r>
            <a:r>
              <a:rPr lang="de-DE" sz="1000" dirty="0">
                <a:latin typeface="Courier New"/>
                <a:cs typeface="Courier New"/>
              </a:rPr>
              <a:t>					 </a:t>
            </a:r>
            <a:r>
              <a:rPr lang="de-DE" sz="1000" dirty="0" smtClean="0">
                <a:latin typeface="Courier New"/>
                <a:cs typeface="Courier New"/>
              </a:rPr>
              <a:t>		"com.senacor.knowledgetalks.mappingframeworks.mappers.dozer.CustomDozerBook2BookDTOBeanFactory“&gt; 			</a:t>
            </a:r>
            <a:r>
              <a:rPr lang="de-DE" sz="1000" dirty="0" err="1" smtClean="0">
                <a:latin typeface="Courier New"/>
                <a:cs typeface="Courier New"/>
              </a:rPr>
              <a:t>com.senacor.knowledgetalks.mappingframeworks.dtos.BookDTO</a:t>
            </a:r>
            <a:r>
              <a:rPr lang="de-DE" sz="1000" dirty="0">
                <a:latin typeface="Courier New"/>
                <a:cs typeface="Courier New"/>
              </a:rPr>
              <a:t>&lt;/</a:t>
            </a:r>
            <a:r>
              <a:rPr lang="de-DE" sz="1000" dirty="0" err="1">
                <a:latin typeface="Courier New"/>
                <a:cs typeface="Courier New"/>
              </a:rPr>
              <a:t>class</a:t>
            </a:r>
            <a:r>
              <a:rPr lang="de-DE" sz="1000" dirty="0">
                <a:latin typeface="Courier New"/>
                <a:cs typeface="Courier New"/>
              </a:rPr>
              <a:t>-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title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title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a&gt;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&lt;/a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	&lt;b&gt;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&lt;/b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&lt;/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&gt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dirty="0" smtClean="0">
                <a:latin typeface="Courier New"/>
                <a:cs typeface="Courier New"/>
              </a:rPr>
              <a:t>...</a:t>
            </a:r>
            <a:endParaRPr lang="de-DE" dirty="0">
              <a:latin typeface="Courier New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3017648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</a:t>
            </a:r>
            <a:r>
              <a:rPr lang="de-DE" dirty="0" err="1" smtClean="0"/>
              <a:t>Dozer</a:t>
            </a:r>
            <a:r>
              <a:rPr lang="de-DE" dirty="0" smtClean="0"/>
              <a:t> als Singleton.</a:t>
            </a:r>
          </a:p>
          <a:p>
            <a:r>
              <a:rPr lang="de-DE" dirty="0" smtClean="0"/>
              <a:t>Nutze kleinere XML Dateien statt einer XML Datei zur </a:t>
            </a:r>
            <a:r>
              <a:rPr lang="de-DE" dirty="0" err="1" smtClean="0"/>
              <a:t>Komponentisierung</a:t>
            </a:r>
            <a:r>
              <a:rPr lang="de-DE" dirty="0" smtClean="0"/>
              <a:t>.</a:t>
            </a:r>
          </a:p>
          <a:p>
            <a:r>
              <a:rPr lang="de-DE" dirty="0" smtClean="0"/>
              <a:t>Verwendung der besser dokumentierten XML-Mapper-API statt der Java API.</a:t>
            </a:r>
          </a:p>
          <a:p>
            <a:endParaRPr lang="de-DE" dirty="0"/>
          </a:p>
          <a:p>
            <a:r>
              <a:rPr lang="de-DE" dirty="0" smtClean="0"/>
              <a:t>Probleme:</a:t>
            </a:r>
          </a:p>
          <a:p>
            <a:r>
              <a:rPr lang="de-DE" dirty="0" smtClean="0"/>
              <a:t>Kann keine null Objekte </a:t>
            </a:r>
            <a:r>
              <a:rPr lang="de-DE" dirty="0" err="1" smtClean="0"/>
              <a:t>mappen</a:t>
            </a:r>
            <a:endParaRPr lang="de-DE" dirty="0" smtClean="0"/>
          </a:p>
          <a:p>
            <a:r>
              <a:rPr lang="de-DE" dirty="0" smtClean="0"/>
              <a:t>Kein automatisches </a:t>
            </a:r>
            <a:r>
              <a:rPr lang="de-DE" dirty="0" err="1" smtClean="0"/>
              <a:t>DeepMapping</a:t>
            </a:r>
            <a:r>
              <a:rPr lang="de-DE" dirty="0" smtClean="0"/>
              <a:t> innerhalb von Listen</a:t>
            </a:r>
          </a:p>
          <a:p>
            <a:r>
              <a:rPr lang="de-DE" dirty="0" smtClean="0"/>
              <a:t>Kann kein </a:t>
            </a:r>
            <a:r>
              <a:rPr lang="de-DE" dirty="0" err="1" smtClean="0"/>
              <a:t>Enum</a:t>
            </a:r>
            <a:r>
              <a:rPr lang="de-DE" dirty="0" smtClean="0"/>
              <a:t> Type auf Vererbung abbilden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1: </a:t>
            </a:r>
            <a:r>
              <a:rPr lang="de-DE" dirty="0" err="1"/>
              <a:t>Doz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8FF99E3-ABD1-41AD-A405-5FDBF5390265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44312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7F05D96-7809-40F8-92BF-7020E267E7C5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apping </a:t>
            </a:r>
            <a:r>
              <a:rPr lang="de-DE" dirty="0"/>
              <a:t>Definition: </a:t>
            </a:r>
            <a:r>
              <a:rPr lang="de-DE" dirty="0" smtClean="0"/>
              <a:t>API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</a:t>
            </a:r>
            <a:r>
              <a:rPr lang="de-DE" dirty="0" smtClean="0"/>
              <a:t>: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2: </a:t>
            </a:r>
            <a:r>
              <a:rPr lang="de-DE" dirty="0" err="1" smtClean="0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818308-BC86-4A2C-9F1E-F4F570E8411E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2: </a:t>
            </a:r>
            <a:r>
              <a:rPr lang="de-DE" dirty="0" err="1"/>
              <a:t>ModelMapper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084A104-F98F-4DE9-8A2D-4AE791961183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2770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D6EEF12-6FD5-4CC6-8DB9-A0E06776301B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9530595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ckbrief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 smtClean="0"/>
              <a:t>Orika</a:t>
            </a:r>
            <a:r>
              <a:rPr lang="de-DE" dirty="0" smtClean="0"/>
              <a:t> generiert aus den Meta-Daten der Klassen Mapping Objekte.</a:t>
            </a:r>
          </a:p>
          <a:p>
            <a:r>
              <a:rPr lang="de-DE" dirty="0" smtClean="0"/>
              <a:t>Die Mapping Objekte werden dann dazu verwendet direkt zwischen den beiden Objektgraphen zu </a:t>
            </a:r>
            <a:r>
              <a:rPr lang="de-DE" dirty="0" err="1" smtClean="0"/>
              <a:t>mappen</a:t>
            </a:r>
            <a:r>
              <a:rPr lang="de-DE" dirty="0" smtClean="0"/>
              <a:t>.</a:t>
            </a:r>
          </a:p>
          <a:p>
            <a:r>
              <a:rPr lang="de-DE" dirty="0" err="1" smtClean="0"/>
              <a:t>Orika</a:t>
            </a:r>
            <a:r>
              <a:rPr lang="de-DE" dirty="0" smtClean="0"/>
              <a:t> </a:t>
            </a:r>
            <a:r>
              <a:rPr lang="de-DE" dirty="0" err="1" smtClean="0"/>
              <a:t>mappt</a:t>
            </a:r>
            <a:r>
              <a:rPr lang="de-DE" dirty="0" smtClean="0"/>
              <a:t> gleiche Objektstrukturen automatisch</a:t>
            </a:r>
          </a:p>
          <a:p>
            <a:r>
              <a:rPr lang="de-DE" dirty="0" smtClean="0"/>
              <a:t>Einfache Notation für Objekt-Transformationen </a:t>
            </a:r>
          </a:p>
          <a:p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urchführung Mapping: </a:t>
            </a:r>
            <a:r>
              <a:rPr lang="de-DE" dirty="0" err="1" smtClean="0"/>
              <a:t>ByteCode</a:t>
            </a:r>
            <a:r>
              <a:rPr lang="de-DE" dirty="0" smtClean="0"/>
              <a:t> Generierung für Mapping Objekte 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apping Definition: </a:t>
            </a:r>
            <a:r>
              <a:rPr lang="de-DE" dirty="0" smtClean="0"/>
              <a:t>API oder Annotatio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ktuelle Version: </a:t>
            </a:r>
            <a:r>
              <a:rPr lang="de-DE" dirty="0" smtClean="0"/>
              <a:t>1.4.5 (14.03.2014</a:t>
            </a:r>
            <a:r>
              <a:rPr lang="de-DE" dirty="0"/>
              <a:t>)</a:t>
            </a:r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Framework 3: </a:t>
            </a:r>
            <a:r>
              <a:rPr lang="de-DE" dirty="0" err="1" smtClean="0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921785-4189-42D8-A245-C3A88B4F77A7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611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smtClean="0">
                <a:latin typeface="Courier New"/>
                <a:cs typeface="Courier New"/>
              </a:rPr>
              <a:t>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publish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releaseDat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bookCover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          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1005036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Co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0825" y="1340173"/>
            <a:ext cx="8642350" cy="5185171"/>
          </a:xfrm>
        </p:spPr>
        <p:txBody>
          <a:bodyPr/>
          <a:lstStyle/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 smtClean="0">
                <a:latin typeface="Courier New"/>
                <a:cs typeface="Courier New"/>
              </a:rPr>
              <a:t>public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void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 smtClean="0">
                <a:latin typeface="Courier New"/>
                <a:cs typeface="Courier New"/>
              </a:rPr>
              <a:t>init</a:t>
            </a:r>
            <a:r>
              <a:rPr lang="de-DE" sz="1000" dirty="0" smtClean="0">
                <a:latin typeface="Courier New"/>
                <a:cs typeface="Courier New"/>
              </a:rPr>
              <a:t>()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</a:t>
            </a:r>
            <a:r>
              <a:rPr lang="de-DE" sz="1000" dirty="0" smtClean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mapperFactory</a:t>
            </a:r>
            <a:r>
              <a:rPr lang="de-DE" sz="1000" dirty="0">
                <a:latin typeface="Courier New"/>
                <a:cs typeface="Courier New"/>
              </a:rPr>
              <a:t> = 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DefaultMapperFactory.Builder</a:t>
            </a:r>
            <a:r>
              <a:rPr lang="de-DE" sz="1000" dirty="0">
                <a:latin typeface="Courier New"/>
                <a:cs typeface="Courier New"/>
              </a:rPr>
              <a:t>().</a:t>
            </a:r>
            <a:r>
              <a:rPr lang="de-DE" sz="1000" dirty="0" err="1">
                <a:latin typeface="Courier New"/>
                <a:cs typeface="Courier New"/>
              </a:rPr>
              <a:t>build</a:t>
            </a:r>
            <a:r>
              <a:rPr lang="de-DE" sz="1000" dirty="0">
                <a:latin typeface="Courier New"/>
                <a:cs typeface="Courier New"/>
              </a:rPr>
              <a:t>(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err="1" smtClean="0">
                <a:latin typeface="Courier New"/>
                <a:cs typeface="Courier New"/>
              </a:rPr>
              <a:t>mapperFactory.registerObjectFactory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new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Factory</a:t>
            </a:r>
            <a:r>
              <a:rPr lang="de-DE" sz="1000" dirty="0">
                <a:latin typeface="Courier New"/>
                <a:cs typeface="Courier New"/>
              </a:rPr>
              <a:t>(), </a:t>
            </a:r>
            <a:r>
              <a:rPr lang="de-DE" sz="1000" dirty="0" err="1">
                <a:latin typeface="Courier New"/>
                <a:cs typeface="Courier New"/>
              </a:rPr>
              <a:t>TypeFactory.valueOf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 err="1" smtClean="0">
                <a:latin typeface="Courier New"/>
                <a:cs typeface="Courier New"/>
              </a:rPr>
              <a:t>mapperFactory.classMap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title", "title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fir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Fir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 </a:t>
            </a:r>
            <a:r>
              <a:rPr lang="de-DE" sz="1000" dirty="0" smtClean="0">
                <a:latin typeface="Courier New"/>
                <a:cs typeface="Courier New"/>
              </a:rPr>
              <a:t>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lastName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LastName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 smtClean="0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author.birthday</a:t>
            </a:r>
            <a:r>
              <a:rPr lang="de-DE" sz="1000" dirty="0">
                <a:latin typeface="Courier New"/>
                <a:cs typeface="Courier New"/>
              </a:rPr>
              <a:t>", "</a:t>
            </a:r>
            <a:r>
              <a:rPr lang="de-DE" sz="1000" dirty="0" err="1">
                <a:latin typeface="Courier New"/>
                <a:cs typeface="Courier New"/>
              </a:rPr>
              <a:t>authorBirthday</a:t>
            </a:r>
            <a:r>
              <a:rPr lang="de-DE" sz="1000" dirty="0"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publish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 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releaseDate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field</a:t>
            </a:r>
            <a:r>
              <a:rPr lang="de-DE" sz="1000" dirty="0">
                <a:latin typeface="Courier New"/>
                <a:cs typeface="Courier New"/>
              </a:rPr>
              <a:t>("</a:t>
            </a:r>
            <a:r>
              <a:rPr lang="de-DE" sz="1000" dirty="0" err="1">
                <a:latin typeface="Courier New"/>
                <a:cs typeface="Courier New"/>
              </a:rPr>
              <a:t>chapters</a:t>
            </a:r>
            <a:r>
              <a:rPr lang="de-DE" sz="1000" dirty="0">
                <a:latin typeface="Courier New"/>
                <a:cs typeface="Courier New"/>
              </a:rPr>
              <a:t>{title}", "</a:t>
            </a:r>
            <a:r>
              <a:rPr lang="de-DE" sz="1000" dirty="0" err="1">
                <a:latin typeface="Courier New"/>
                <a:cs typeface="Courier New"/>
              </a:rPr>
              <a:t>chapterTitles</a:t>
            </a:r>
            <a:r>
              <a:rPr lang="de-DE" sz="1000" dirty="0">
                <a:latin typeface="Courier New"/>
                <a:cs typeface="Courier New"/>
              </a:rPr>
              <a:t>{}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//        </a:t>
            </a:r>
            <a:r>
              <a:rPr lang="de-DE" sz="1000" dirty="0" smtClean="0">
                <a:solidFill>
                  <a:srgbClr val="BFBFBF"/>
                </a:solidFill>
                <a:latin typeface="Courier New"/>
                <a:cs typeface="Courier New"/>
              </a:rPr>
              <a:t>	.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field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(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, "</a:t>
            </a:r>
            <a:r>
              <a:rPr lang="de-DE" sz="1000" dirty="0" err="1">
                <a:solidFill>
                  <a:srgbClr val="BFBFBF"/>
                </a:solidFill>
                <a:latin typeface="Courier New"/>
                <a:cs typeface="Courier New"/>
              </a:rPr>
              <a:t>bookCover</a:t>
            </a:r>
            <a:r>
              <a:rPr lang="de-DE" sz="1000" dirty="0">
                <a:solidFill>
                  <a:srgbClr val="BFBFBF"/>
                </a:solidFill>
                <a:latin typeface="Courier New"/>
                <a:cs typeface="Courier New"/>
              </a:rPr>
              <a:t>"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 </a:t>
            </a:r>
            <a:r>
              <a:rPr lang="de-DE" sz="1000" dirty="0" smtClean="0">
                <a:latin typeface="Courier New"/>
                <a:cs typeface="Courier New"/>
              </a:rPr>
              <a:t>	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.</a:t>
            </a:r>
            <a:r>
              <a:rPr lang="de-DE" sz="1000" dirty="0" err="1">
                <a:solidFill>
                  <a:srgbClr val="0000FF"/>
                </a:solidFill>
                <a:latin typeface="Courier New"/>
                <a:cs typeface="Courier New"/>
              </a:rPr>
              <a:t>byDefault</a:t>
            </a:r>
            <a:r>
              <a:rPr lang="de-DE" sz="1000" dirty="0">
                <a:solidFill>
                  <a:srgbClr val="0000FF"/>
                </a:solidFill>
                <a:latin typeface="Courier New"/>
                <a:cs typeface="Courier New"/>
              </a:rPr>
              <a:t>()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    </a:t>
            </a:r>
            <a:r>
              <a:rPr lang="de-DE" sz="1000" dirty="0" smtClean="0">
                <a:latin typeface="Courier New"/>
                <a:cs typeface="Courier New"/>
              </a:rPr>
              <a:t>	.</a:t>
            </a:r>
            <a:r>
              <a:rPr lang="de-DE" sz="1000" dirty="0" err="1">
                <a:latin typeface="Courier New"/>
                <a:cs typeface="Courier New"/>
              </a:rPr>
              <a:t>register</a:t>
            </a:r>
            <a:r>
              <a:rPr lang="de-DE" sz="1000" dirty="0">
                <a:latin typeface="Courier New"/>
                <a:cs typeface="Courier New"/>
              </a:rPr>
              <a:t>();	</a:t>
            </a: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mapperEntity2DTO 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      </a:t>
            </a:r>
            <a:r>
              <a:rPr lang="de-DE" sz="1000" dirty="0" smtClean="0">
                <a:latin typeface="Courier New"/>
                <a:cs typeface="Courier New"/>
              </a:rPr>
              <a:t>mapperDTO2Entity </a:t>
            </a:r>
            <a:r>
              <a:rPr lang="de-DE" sz="1000" dirty="0">
                <a:latin typeface="Courier New"/>
                <a:cs typeface="Courier New"/>
              </a:rPr>
              <a:t>= </a:t>
            </a:r>
            <a:r>
              <a:rPr lang="de-DE" sz="1000" dirty="0" err="1">
                <a:latin typeface="Courier New"/>
                <a:cs typeface="Courier New"/>
              </a:rPr>
              <a:t>mapperFactory.getMapperFacade</a:t>
            </a:r>
            <a:r>
              <a:rPr lang="de-DE" sz="1000" dirty="0">
                <a:latin typeface="Courier New"/>
                <a:cs typeface="Courier New"/>
              </a:rPr>
              <a:t>(</a:t>
            </a:r>
            <a:r>
              <a:rPr lang="de-DE" sz="1000" dirty="0" err="1">
                <a:latin typeface="Courier New"/>
                <a:cs typeface="Courier New"/>
              </a:rPr>
              <a:t>BookDTO.class</a:t>
            </a:r>
            <a:r>
              <a:rPr lang="de-DE" sz="1000" dirty="0">
                <a:latin typeface="Courier New"/>
                <a:cs typeface="Courier New"/>
              </a:rPr>
              <a:t>, </a:t>
            </a:r>
            <a:r>
              <a:rPr lang="de-DE" sz="1000" dirty="0" err="1">
                <a:latin typeface="Courier New"/>
                <a:cs typeface="Courier New"/>
              </a:rPr>
              <a:t>Book.class</a:t>
            </a:r>
            <a:r>
              <a:rPr lang="de-DE" sz="1000" dirty="0">
                <a:latin typeface="Courier New"/>
                <a:cs typeface="Courier New"/>
              </a:rPr>
              <a:t>)</a:t>
            </a:r>
            <a:r>
              <a:rPr lang="de-DE" sz="1000" dirty="0" smtClean="0">
                <a:latin typeface="Courier New"/>
                <a:cs typeface="Courier New"/>
              </a:rPr>
              <a:t>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err="1">
                <a:latin typeface="Courier New"/>
                <a:cs typeface="Courier New"/>
              </a:rPr>
              <a:t>public</a:t>
            </a:r>
            <a:r>
              <a:rPr lang="de-DE" sz="1000" dirty="0">
                <a:latin typeface="Courier New"/>
                <a:cs typeface="Courier New"/>
              </a:rPr>
              <a:t> </a:t>
            </a:r>
            <a:r>
              <a:rPr lang="de-DE" sz="1000" dirty="0" err="1">
                <a:latin typeface="Courier New"/>
                <a:cs typeface="Courier New"/>
              </a:rPr>
              <a:t>BookDTO</a:t>
            </a:r>
            <a:r>
              <a:rPr lang="de-DE" sz="1000" dirty="0">
                <a:latin typeface="Courier New"/>
                <a:cs typeface="Courier New"/>
              </a:rPr>
              <a:t> mapEntity2DTO(Book 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 {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	</a:t>
            </a:r>
            <a:r>
              <a:rPr lang="de-DE" sz="1000" dirty="0" err="1">
                <a:latin typeface="Courier New"/>
                <a:cs typeface="Courier New"/>
              </a:rPr>
              <a:t>return</a:t>
            </a:r>
            <a:r>
              <a:rPr lang="de-DE" sz="1000" dirty="0">
                <a:latin typeface="Courier New"/>
                <a:cs typeface="Courier New"/>
              </a:rPr>
              <a:t> mapperEntity2DTO.map(</a:t>
            </a:r>
            <a:r>
              <a:rPr lang="de-DE" sz="1000" dirty="0" err="1">
                <a:latin typeface="Courier New"/>
                <a:cs typeface="Courier New"/>
              </a:rPr>
              <a:t>book</a:t>
            </a:r>
            <a:r>
              <a:rPr lang="de-DE" sz="1000" dirty="0">
                <a:latin typeface="Courier New"/>
                <a:cs typeface="Courier New"/>
              </a:rPr>
              <a:t>);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>
                <a:latin typeface="Courier New"/>
                <a:cs typeface="Courier New"/>
              </a:rPr>
              <a:t>}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 smtClean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000" dirty="0" smtClean="0">
                <a:latin typeface="Courier New"/>
                <a:cs typeface="Courier New"/>
              </a:rPr>
              <a:t>	</a:t>
            </a:r>
            <a:endParaRPr lang="de-DE" sz="1000" dirty="0">
              <a:latin typeface="Courier New"/>
              <a:cs typeface="Courier New"/>
            </a:endParaRP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  <a:p>
            <a:pPr>
              <a:lnSpc>
                <a:spcPct val="50000"/>
              </a:lnSpc>
              <a:tabLst>
                <a:tab pos="446088" algn="l"/>
                <a:tab pos="901700" algn="l"/>
              </a:tabLst>
            </a:pPr>
            <a:r>
              <a:rPr lang="de-DE" sz="1600" dirty="0">
                <a:latin typeface="Courier New"/>
                <a:cs typeface="Courier New"/>
              </a:rPr>
              <a:t>          	</a:t>
            </a:r>
          </a:p>
        </p:txBody>
      </p:sp>
    </p:spTree>
    <p:extLst>
      <p:ext uri="{BB962C8B-B14F-4D97-AF65-F5344CB8AC3E}">
        <p14:creationId xmlns:p14="http://schemas.microsoft.com/office/powerpoint/2010/main" val="3595496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0926119-4126-47AD-BA8F-407809864C66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Framework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8058915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st Practic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erwende die </a:t>
            </a:r>
            <a:r>
              <a:rPr lang="de-DE" dirty="0" err="1" smtClean="0"/>
              <a:t>MapperFactory</a:t>
            </a:r>
            <a:r>
              <a:rPr lang="de-DE" dirty="0" smtClean="0"/>
              <a:t> als Singleton</a:t>
            </a:r>
          </a:p>
          <a:p>
            <a:r>
              <a:rPr lang="de-DE" dirty="0" smtClean="0"/>
              <a:t>Vermeide den automatischen </a:t>
            </a:r>
            <a:r>
              <a:rPr lang="de-DE" smtClean="0"/>
              <a:t>MapperLookUp</a:t>
            </a:r>
            <a:r>
              <a:rPr lang="de-DE" dirty="0" smtClean="0"/>
              <a:t> und verwende </a:t>
            </a:r>
            <a:r>
              <a:rPr lang="de-DE" dirty="0" err="1" smtClean="0"/>
              <a:t>BoundMapperFactory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ramework 3: </a:t>
            </a:r>
            <a:r>
              <a:rPr lang="de-DE" dirty="0" err="1"/>
              <a:t>Orika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781B4C0-0599-474E-ABD9-660DDC0B30F1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96551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3C4D52-60F5-4A0A-97B2-0D1F37A64DB0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1780649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2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413389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10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4.78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8.613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.51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6.90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7.75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946.87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569.69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60174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3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561860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9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.5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4.9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67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0.75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.322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317.62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66.036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58385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>
          <a:xfrm>
            <a:off x="250825" y="1340719"/>
            <a:ext cx="8642350" cy="1152177"/>
          </a:xfrm>
        </p:spPr>
        <p:txBody>
          <a:bodyPr/>
          <a:lstStyle/>
          <a:p>
            <a:r>
              <a:rPr lang="de-DE" sz="1200" dirty="0" smtClean="0"/>
              <a:t>Mapping von 100000 randomisierten Objekten. </a:t>
            </a:r>
          </a:p>
          <a:p>
            <a:r>
              <a:rPr lang="de-DE" sz="1200" dirty="0" smtClean="0"/>
              <a:t>Test von beiden Richtungen ( </a:t>
            </a:r>
            <a:r>
              <a:rPr lang="de-DE" sz="1200" dirty="0" err="1" smtClean="0"/>
              <a:t>Entity</a:t>
            </a:r>
            <a:r>
              <a:rPr lang="de-DE" sz="1200" dirty="0" smtClean="0"/>
              <a:t> -&gt; DTO und DTO -&gt; </a:t>
            </a:r>
            <a:r>
              <a:rPr lang="de-DE" sz="1200" dirty="0" err="1" smtClean="0"/>
              <a:t>Entity</a:t>
            </a:r>
            <a:r>
              <a:rPr lang="de-DE" sz="1200" dirty="0" smtClean="0"/>
              <a:t>)</a:t>
            </a:r>
          </a:p>
          <a:p>
            <a:r>
              <a:rPr lang="de-DE" sz="1200" dirty="0" smtClean="0"/>
              <a:t>Testcomputer Apple </a:t>
            </a:r>
            <a:r>
              <a:rPr lang="de-DE" sz="1200" dirty="0" err="1" smtClean="0"/>
              <a:t>MacBookPro</a:t>
            </a:r>
            <a:r>
              <a:rPr lang="de-DE" sz="1200" dirty="0" smtClean="0"/>
              <a:t> (2,3GHz Quad-Core;16 GB DDR3 RAM;256 GB SSD)</a:t>
            </a:r>
          </a:p>
          <a:p>
            <a:r>
              <a:rPr lang="de-DE" sz="1200" dirty="0" smtClean="0"/>
              <a:t>Angegebene Zeit entspricht dem Mapping von einem Element in </a:t>
            </a:r>
            <a:r>
              <a:rPr lang="de-DE" sz="1200" dirty="0" err="1" smtClean="0"/>
              <a:t>NanoSekunden</a:t>
            </a:r>
            <a:endParaRPr lang="de-DE" sz="1200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4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6428018"/>
              </p:ext>
            </p:extLst>
          </p:nvPr>
        </p:nvGraphicFramePr>
        <p:xfrm>
          <a:off x="1259632" y="3212976"/>
          <a:ext cx="6096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ntity</a:t>
                      </a:r>
                      <a:r>
                        <a:rPr lang="de-DE" dirty="0" smtClean="0"/>
                        <a:t> -&gt; DTO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TO -&gt; </a:t>
                      </a:r>
                      <a:r>
                        <a:rPr lang="de-DE" dirty="0" err="1" smtClean="0"/>
                        <a:t>Entity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ndwritt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50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295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ik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.47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.407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Modellmapp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13.813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7.104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ozer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aseline="0" dirty="0" smtClean="0"/>
                        <a:t> 167.818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/>
                        <a:t>207.261 </a:t>
                      </a:r>
                      <a:r>
                        <a:rPr lang="de-DE" dirty="0" err="1" smtClean="0"/>
                        <a:t>ns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5174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5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96458979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16264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pping Performance - Ergebnis der Evaluatio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Vergleich Performanc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28B8EE3-6FD4-4AC9-B699-41351B23DCF8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6</a:t>
            </a:fld>
            <a:endParaRPr lang="de-DE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53954027"/>
              </p:ext>
            </p:extLst>
          </p:nvPr>
        </p:nvGraphicFramePr>
        <p:xfrm>
          <a:off x="323528" y="1988840"/>
          <a:ext cx="8568952" cy="3472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806419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E2DEA8-4E9A-45F1-8E4F-72CAC60ACF2B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7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343971091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lches Vorgehen für welchen Anwendungsfal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EE847A6-8CB8-46A2-8F15-85A4E686AF81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11902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r>
              <a:rPr lang="de-DE" dirty="0" smtClean="0"/>
              <a:t>INHALTSÜBERSICHT</a:t>
            </a:r>
          </a:p>
        </p:txBody>
      </p:sp>
      <p:sp>
        <p:nvSpPr>
          <p:cNvPr id="10" name="Rechteck 9"/>
          <p:cNvSpPr/>
          <p:nvPr/>
        </p:nvSpPr>
        <p:spPr bwMode="gray">
          <a:xfrm>
            <a:off x="250825" y="1556792"/>
            <a:ext cx="432635" cy="432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</a:t>
            </a:r>
            <a:endParaRPr lang="de-DE" sz="1400" b="1" dirty="0"/>
          </a:p>
        </p:txBody>
      </p:sp>
      <p:sp>
        <p:nvSpPr>
          <p:cNvPr id="11" name="Rechteck 10"/>
          <p:cNvSpPr/>
          <p:nvPr/>
        </p:nvSpPr>
        <p:spPr bwMode="gray">
          <a:xfrm>
            <a:off x="683459" y="1556792"/>
            <a:ext cx="8209715" cy="4320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b="1" dirty="0" smtClean="0">
                <a:solidFill>
                  <a:schemeClr val="bg1"/>
                </a:solidFill>
              </a:rPr>
              <a:t>Motivation – Wozu Mapping?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250824" y="2054717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2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683459" y="2054777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err="1" smtClean="0">
                <a:solidFill>
                  <a:schemeClr val="accent5"/>
                </a:solidFill>
              </a:rPr>
              <a:t>Handwritten</a:t>
            </a:r>
            <a:r>
              <a:rPr lang="de-DE" sz="1400" dirty="0" smtClean="0">
                <a:solidFill>
                  <a:schemeClr val="accent5"/>
                </a:solidFill>
              </a:rPr>
              <a:t> Mapping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7E8C41-564D-4919-ACED-ED650F2402E2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49</a:t>
            </a:fld>
            <a:endParaRPr lang="de-DE"/>
          </a:p>
        </p:txBody>
      </p:sp>
      <p:sp>
        <p:nvSpPr>
          <p:cNvPr id="14" name="Rechteck 13"/>
          <p:cNvSpPr/>
          <p:nvPr/>
        </p:nvSpPr>
        <p:spPr bwMode="gray">
          <a:xfrm>
            <a:off x="251520" y="2564903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3</a:t>
            </a:r>
            <a:endParaRPr lang="de-DE" sz="1600" b="1" dirty="0"/>
          </a:p>
        </p:txBody>
      </p:sp>
      <p:sp>
        <p:nvSpPr>
          <p:cNvPr id="15" name="Rechteck 14"/>
          <p:cNvSpPr/>
          <p:nvPr/>
        </p:nvSpPr>
        <p:spPr bwMode="gray">
          <a:xfrm>
            <a:off x="683458" y="2564963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1: </a:t>
            </a:r>
            <a:r>
              <a:rPr lang="de-DE" sz="1400" dirty="0" err="1" smtClean="0">
                <a:solidFill>
                  <a:schemeClr val="accent5"/>
                </a:solidFill>
              </a:rPr>
              <a:t>Dozer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gray">
          <a:xfrm>
            <a:off x="251520" y="3068959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4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684155" y="3069019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2: </a:t>
            </a:r>
            <a:r>
              <a:rPr lang="de-DE" sz="1400" dirty="0" err="1" smtClean="0">
                <a:solidFill>
                  <a:schemeClr val="accent5"/>
                </a:solidFill>
              </a:rPr>
              <a:t>ModelMapper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251520" y="3573015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5</a:t>
            </a:r>
          </a:p>
        </p:txBody>
      </p:sp>
      <p:sp>
        <p:nvSpPr>
          <p:cNvPr id="19" name="Rechteck 18"/>
          <p:cNvSpPr/>
          <p:nvPr/>
        </p:nvSpPr>
        <p:spPr bwMode="gray">
          <a:xfrm>
            <a:off x="684155" y="3573075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mework 3: </a:t>
            </a:r>
            <a:r>
              <a:rPr lang="de-DE" sz="1400" dirty="0" err="1" smtClean="0">
                <a:solidFill>
                  <a:schemeClr val="accent5"/>
                </a:solidFill>
              </a:rPr>
              <a:t>Orika</a:t>
            </a:r>
            <a:endParaRPr lang="de-DE" sz="1400" dirty="0" smtClean="0">
              <a:solidFill>
                <a:schemeClr val="accent5"/>
              </a:solidFill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251520" y="4077060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6</a:t>
            </a:r>
            <a:endParaRPr lang="de-DE" sz="1600" b="1" dirty="0"/>
          </a:p>
        </p:txBody>
      </p:sp>
      <p:sp>
        <p:nvSpPr>
          <p:cNvPr id="21" name="Rechteck 20"/>
          <p:cNvSpPr/>
          <p:nvPr/>
        </p:nvSpPr>
        <p:spPr bwMode="gray">
          <a:xfrm>
            <a:off x="683458" y="4077120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Vergleich Performance</a:t>
            </a:r>
            <a:endParaRPr lang="de-DE" sz="1400" dirty="0">
              <a:solidFill>
                <a:schemeClr val="accent5"/>
              </a:solidFill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251520" y="4581116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7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84155" y="4581176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Welches Vorgehen für welchen Anwendungsfall?</a:t>
            </a:r>
          </a:p>
        </p:txBody>
      </p:sp>
      <p:sp>
        <p:nvSpPr>
          <p:cNvPr id="24" name="Rechteck 23"/>
          <p:cNvSpPr/>
          <p:nvPr/>
        </p:nvSpPr>
        <p:spPr bwMode="gray">
          <a:xfrm>
            <a:off x="251520" y="5085172"/>
            <a:ext cx="432635" cy="4320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8</a:t>
            </a:r>
            <a:endParaRPr lang="de-DE" sz="1600" b="1" dirty="0"/>
          </a:p>
        </p:txBody>
      </p:sp>
      <p:sp>
        <p:nvSpPr>
          <p:cNvPr id="25" name="Rechteck 24"/>
          <p:cNvSpPr/>
          <p:nvPr/>
        </p:nvSpPr>
        <p:spPr bwMode="gray">
          <a:xfrm>
            <a:off x="684155" y="5085232"/>
            <a:ext cx="8209715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7953375" algn="r"/>
              </a:tabLst>
            </a:pPr>
            <a:r>
              <a:rPr lang="de-DE" sz="1400" dirty="0" smtClean="0">
                <a:solidFill>
                  <a:schemeClr val="accent5"/>
                </a:solidFill>
              </a:rPr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8117379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8940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969" y="1196752"/>
            <a:ext cx="6840981" cy="2592388"/>
          </a:xfrm>
        </p:spPr>
        <p:txBody>
          <a:bodyPr/>
          <a:lstStyle/>
          <a:p>
            <a:r>
              <a:rPr lang="de-DE" dirty="0" smtClean="0"/>
              <a:t>„Mit JEE 6 und JPA 2 brauchst du keine DTOs und kein Mapping mehr. Du gibst die </a:t>
            </a:r>
            <a:r>
              <a:rPr lang="de-DE" dirty="0" err="1" smtClean="0"/>
              <a:t>Entities</a:t>
            </a:r>
            <a:r>
              <a:rPr lang="de-DE" dirty="0" smtClean="0"/>
              <a:t> direkt raus. “</a:t>
            </a:r>
            <a:endParaRPr lang="de-DE" baseline="30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250825" y="3933602"/>
            <a:ext cx="6842125" cy="287338"/>
          </a:xfrm>
        </p:spPr>
        <p:txBody>
          <a:bodyPr/>
          <a:lstStyle/>
          <a:p>
            <a:r>
              <a:rPr lang="de-DE" dirty="0" smtClean="0"/>
              <a:t>Adam Bien, Training JEE Einführung, 15.04.2011, Schwaig b. Nürnberg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1E5E37F-4CF4-4734-BC7A-5A465BBB5452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Textfeld 8"/>
          <p:cNvSpPr txBox="1"/>
          <p:nvPr/>
        </p:nvSpPr>
        <p:spPr bwMode="gray">
          <a:xfrm>
            <a:off x="683568" y="4581128"/>
            <a:ext cx="7920880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11500" b="1" dirty="0" smtClean="0">
                <a:solidFill>
                  <a:schemeClr val="accent3"/>
                </a:solidFill>
              </a:rPr>
              <a:t>Wirklich?</a:t>
            </a:r>
          </a:p>
        </p:txBody>
      </p:sp>
    </p:spTree>
    <p:extLst>
      <p:ext uri="{BB962C8B-B14F-4D97-AF65-F5344CB8AC3E}">
        <p14:creationId xmlns:p14="http://schemas.microsoft.com/office/powerpoint/2010/main" val="9861863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nnvolle Anwendungsfälle für Mapping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>
          <a:xfrm>
            <a:off x="250825" y="1628751"/>
            <a:ext cx="8642350" cy="720129"/>
          </a:xfrm>
        </p:spPr>
        <p:txBody>
          <a:bodyPr/>
          <a:lstStyle/>
          <a:p>
            <a:r>
              <a:rPr lang="de-DE" sz="4000" dirty="0" smtClean="0"/>
              <a:t>… aber was ist mit …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47DD63D-B234-4936-A1E9-BF6082DE8AE5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2" name="Textfeld 1"/>
          <p:cNvSpPr txBox="1"/>
          <p:nvPr/>
        </p:nvSpPr>
        <p:spPr bwMode="gray">
          <a:xfrm>
            <a:off x="6084168" y="2055326"/>
            <a:ext cx="2592288" cy="36779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3900" b="1" dirty="0" smtClean="0">
                <a:solidFill>
                  <a:schemeClr val="accent3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?</a:t>
            </a:r>
          </a:p>
        </p:txBody>
      </p:sp>
      <p:sp>
        <p:nvSpPr>
          <p:cNvPr id="8" name="Textfeld 7"/>
          <p:cNvSpPr txBox="1"/>
          <p:nvPr/>
        </p:nvSpPr>
        <p:spPr bwMode="gray">
          <a:xfrm>
            <a:off x="467544" y="2996952"/>
            <a:ext cx="5688632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stabilen Schnittstellen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Annotationen, die der Konsument nicht kennen muss/soll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geheimen“ Attributen der </a:t>
            </a:r>
            <a:r>
              <a:rPr lang="de-DE" sz="1400" dirty="0" err="1" smtClean="0"/>
              <a:t>Entities</a:t>
            </a:r>
            <a:r>
              <a:rPr lang="de-DE" sz="1400" dirty="0" smtClean="0"/>
              <a:t> wie Scori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 „</a:t>
            </a:r>
            <a:r>
              <a:rPr lang="de-DE" sz="1400" dirty="0" err="1" smtClean="0"/>
              <a:t>Contract</a:t>
            </a:r>
            <a:r>
              <a:rPr lang="de-DE" sz="1400" dirty="0" smtClean="0"/>
              <a:t>-First“ Modellierung</a:t>
            </a:r>
          </a:p>
          <a:p>
            <a:pPr marL="180975" indent="-180975">
              <a:lnSpc>
                <a:spcPct val="200000"/>
              </a:lnSpc>
              <a:buClr>
                <a:schemeClr val="accent3"/>
              </a:buClr>
              <a:buFont typeface="Wingdings" pitchFamily="2" charset="2"/>
              <a:buChar char="§"/>
            </a:pPr>
            <a:r>
              <a:rPr lang="de-DE" sz="1400" dirty="0" smtClean="0"/>
              <a:t>…</a:t>
            </a:r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  <a:p>
            <a:pPr marL="180975" indent="-180975">
              <a:buClr>
                <a:schemeClr val="accent3"/>
              </a:buClr>
              <a:buFont typeface="Wingdings" pitchFamily="2" charset="2"/>
              <a:buChar char="§"/>
            </a:pP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599741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Dozer</a:t>
            </a:r>
            <a:endParaRPr lang="de-DE" sz="1400" dirty="0" smtClean="0"/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delMapper</a:t>
            </a:r>
            <a:endParaRPr lang="de-DE" sz="1400" dirty="0" smtClean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rika</a:t>
            </a:r>
            <a:endParaRPr lang="de-DE" sz="1400" dirty="0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OMapper</a:t>
            </a:r>
            <a:endParaRPr lang="de-DE" sz="1400" dirty="0" smtClean="0"/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JMapper</a:t>
            </a:r>
            <a:endParaRPr lang="de-DE" sz="1400" dirty="0" smtClean="0"/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Moo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16047957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ch wenn es lästig ist…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 um ein Mapping kommt man manchmal nicht herum.</a:t>
            </a:r>
          </a:p>
          <a:p>
            <a:endParaRPr lang="de-DE" dirty="0"/>
          </a:p>
          <a:p>
            <a:r>
              <a:rPr lang="de-DE" dirty="0" smtClean="0"/>
              <a:t>Glücklicherweise gibt es aber etliche Java-Frameworks, die uns diese lästige Standardaufgabe abnehmen (können)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Motivation – Wozu Mapping?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B55D62D-7FBE-4C67-9194-E2B7522AB6A0}" type="datetime1">
              <a:rPr lang="de-DE" smtClean="0"/>
              <a:t>27.08.1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Mapping-Frameworks in Actio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CC26C6A-0CF6-4B2A-95E7-F1C069A12223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660232" y="5013176"/>
            <a:ext cx="213872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Transmorph</a:t>
            </a:r>
            <a:endParaRPr lang="de-DE" sz="1400" dirty="0" smtClean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4427984" y="3573016"/>
            <a:ext cx="175278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EZ-Morph</a:t>
            </a:r>
            <a:endParaRPr lang="de-DE" sz="14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251520" y="4033227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BeanUtils</a:t>
            </a:r>
            <a:endParaRPr lang="de-DE" sz="1400" dirty="0" smtClean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4211960" y="5589240"/>
            <a:ext cx="3241272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Apache </a:t>
            </a:r>
            <a:r>
              <a:rPr lang="de-DE" sz="2800" dirty="0" err="1" smtClean="0"/>
              <a:t>Commons</a:t>
            </a:r>
            <a:endParaRPr lang="de-DE" sz="2800" dirty="0" smtClean="0"/>
          </a:p>
          <a:p>
            <a:pPr algn="ctr">
              <a:buClr>
                <a:schemeClr val="accent3"/>
              </a:buClr>
            </a:pPr>
            <a:r>
              <a:rPr lang="de-DE" sz="2800" dirty="0" err="1" smtClean="0"/>
              <a:t>Convert</a:t>
            </a:r>
            <a:endParaRPr lang="de-DE" sz="1400" dirty="0" smtClean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2243893" y="2728729"/>
            <a:ext cx="11269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de-DE" sz="2800" dirty="0" smtClean="0"/>
              <a:t>Morph</a:t>
            </a:r>
            <a:endParaRPr lang="de-DE" sz="1400" dirty="0" smtClean="0"/>
          </a:p>
        </p:txBody>
      </p:sp>
      <p:sp>
        <p:nvSpPr>
          <p:cNvPr id="13" name="Textfeld 12"/>
          <p:cNvSpPr txBox="1"/>
          <p:nvPr/>
        </p:nvSpPr>
        <p:spPr bwMode="gray">
          <a:xfrm>
            <a:off x="6588224" y="3142128"/>
            <a:ext cx="104945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Doz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611509" y="5294520"/>
            <a:ext cx="239168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del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5570171" y="4464114"/>
            <a:ext cx="96340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rika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91105" y="3294529"/>
            <a:ext cx="107087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OTOM</a:t>
            </a:r>
            <a:endParaRPr lang="de-DE" sz="1400" dirty="0" smtClean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3994041" y="2918905"/>
            <a:ext cx="143148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Smooks</a:t>
            </a:r>
            <a:endParaRPr lang="de-DE" sz="1400" dirty="0" smtClean="0"/>
          </a:p>
        </p:txBody>
      </p:sp>
      <p:sp>
        <p:nvSpPr>
          <p:cNvPr id="18" name="Textfeld 17"/>
          <p:cNvSpPr txBox="1"/>
          <p:nvPr/>
        </p:nvSpPr>
        <p:spPr bwMode="gray">
          <a:xfrm>
            <a:off x="251520" y="5949280"/>
            <a:ext cx="116217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err="1" smtClean="0"/>
              <a:t>Nomin</a:t>
            </a:r>
            <a:endParaRPr lang="de-DE" sz="1400" dirty="0" smtClean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3492792" y="4679557"/>
            <a:ext cx="16174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O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xtfeld 19"/>
          <p:cNvSpPr txBox="1"/>
          <p:nvPr/>
        </p:nvSpPr>
        <p:spPr bwMode="gray">
          <a:xfrm>
            <a:off x="7046171" y="3955335"/>
            <a:ext cx="149880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JMapper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feld 20"/>
          <p:cNvSpPr txBox="1"/>
          <p:nvPr/>
        </p:nvSpPr>
        <p:spPr bwMode="gray">
          <a:xfrm>
            <a:off x="5724128" y="2564904"/>
            <a:ext cx="219451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dirty="0" smtClean="0"/>
              <a:t>Modelbridge</a:t>
            </a:r>
            <a:endParaRPr lang="de-DE" sz="1400" dirty="0" smtClean="0"/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80887" y="3502169"/>
            <a:ext cx="73898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de-DE" sz="2800" u="sng" dirty="0" err="1" smtClean="0">
                <a:solidFill>
                  <a:schemeClr val="accent3">
                    <a:lumMod val="50000"/>
                    <a:lumOff val="50000"/>
                  </a:schemeClr>
                </a:solidFill>
              </a:rPr>
              <a:t>Moo</a:t>
            </a:r>
            <a:endParaRPr lang="de-DE" sz="1400" u="sng" dirty="0" smtClean="0">
              <a:solidFill>
                <a:schemeClr val="accent3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0015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P6uN6WXE.j0gAlZEVN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UBahLAgUuE8QnWpYdj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xM.Skp3E6AEO9R1XMC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J5CRD.02ZfCuNTUsH4g"/>
  <p:tag name="VCT-BODYINDENTATION" val="0;0;0;14.17323;14.17323;28.34646;28.32677;42.5;42.51968;56.69291;42.51968;56.69291;42.51968;56.69291;42.51968;56.69291;42.51968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gJME2O.kqxgERZt3RX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4NkEeO4ki.POJtroc4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Dt6AmGUKwy1eDrYz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9.04.2011 12:45:31"/>
  <p:tag name="VCT-TEMPLATE" val="Senacor Vorlage.potx"/>
  <p:tag name="VCTMASTER" val="Senacor Vorlage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nacor_PowerPoint_Vorlage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975" indent="-180975">
          <a:buClr>
            <a:schemeClr val="accent3"/>
          </a:buClr>
          <a:buFont typeface="Wingdings" pitchFamily="2" charset="2"/>
          <a:buChar char="§"/>
          <a:defRPr sz="1400" dirty="0" err="1" smtClean="0"/>
        </a:defPPr>
      </a:lstStyle>
    </a:txDef>
  </a:objectDefaults>
  <a:extraClrSchemeLst/>
  <a:custClrLst>
    <a:custClr name="Akzent Rot">
      <a:srgbClr val="DF0917"/>
    </a:custClr>
    <a:custClr name="Ampel Gelb">
      <a:srgbClr val="FFD500"/>
    </a:custClr>
    <a:custClr name="Ampel Grün">
      <a:srgbClr val="059E7F"/>
    </a:custClr>
  </a:custClrLst>
</a:theme>
</file>

<file path=ppt/theme/theme2.xml><?xml version="1.0" encoding="utf-8"?>
<a:theme xmlns:a="http://schemas.openxmlformats.org/drawingml/2006/main" name="Larissa-Design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senacor">
      <a:dk1>
        <a:sysClr val="windowText" lastClr="000000"/>
      </a:dk1>
      <a:lt1>
        <a:sysClr val="window" lastClr="FFFFFF"/>
      </a:lt1>
      <a:dk2>
        <a:srgbClr val="9B9B9B"/>
      </a:dk2>
      <a:lt2>
        <a:srgbClr val="5F5F5F"/>
      </a:lt2>
      <a:accent1>
        <a:srgbClr val="BEBEBE"/>
      </a:accent1>
      <a:accent2>
        <a:srgbClr val="DCDCDC"/>
      </a:accent2>
      <a:accent3>
        <a:srgbClr val="0C4650"/>
      </a:accent3>
      <a:accent4>
        <a:srgbClr val="4D7178"/>
      </a:accent4>
      <a:accent5>
        <a:srgbClr val="8BA6AD"/>
      </a:accent5>
      <a:accent6>
        <a:srgbClr val="C2D1D3"/>
      </a:accent6>
      <a:hlink>
        <a:srgbClr val="961234"/>
      </a:hlink>
      <a:folHlink>
        <a:srgbClr val="961234"/>
      </a:folHlink>
    </a:clrScheme>
    <a:fontScheme name="Senaco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enacor">
    <a:dk1>
      <a:sysClr val="windowText" lastClr="000000"/>
    </a:dk1>
    <a:lt1>
      <a:sysClr val="window" lastClr="FFFFFF"/>
    </a:lt1>
    <a:dk2>
      <a:srgbClr val="9B9B9B"/>
    </a:dk2>
    <a:lt2>
      <a:srgbClr val="5F5F5F"/>
    </a:lt2>
    <a:accent1>
      <a:srgbClr val="BEBEBE"/>
    </a:accent1>
    <a:accent2>
      <a:srgbClr val="DCDCDC"/>
    </a:accent2>
    <a:accent3>
      <a:srgbClr val="0C4650"/>
    </a:accent3>
    <a:accent4>
      <a:srgbClr val="4D7178"/>
    </a:accent4>
    <a:accent5>
      <a:srgbClr val="8BA6AD"/>
    </a:accent5>
    <a:accent6>
      <a:srgbClr val="C2D1D3"/>
    </a:accent6>
    <a:hlink>
      <a:srgbClr val="961234"/>
    </a:hlink>
    <a:folHlink>
      <a:srgbClr val="961234"/>
    </a:folHlink>
  </a:clrScheme>
  <a:fontScheme name="Senacor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enacor_PowerPoint_Vorlage</Template>
  <TotalTime>0</TotalTime>
  <Words>3686</Words>
  <Application>Microsoft Macintosh PowerPoint</Application>
  <PresentationFormat>Bildschirmpräsentation (4:3)</PresentationFormat>
  <Paragraphs>1116</Paragraphs>
  <Slides>49</Slides>
  <Notes>1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9</vt:i4>
      </vt:variant>
    </vt:vector>
  </HeadingPairs>
  <TitlesOfParts>
    <vt:vector size="51" baseType="lpstr">
      <vt:lpstr>Senacor_PowerPoint_Vorlage</vt:lpstr>
      <vt:lpstr>think-cell Slide</vt:lpstr>
      <vt:lpstr>Mapping Frameworks in Action </vt:lpstr>
      <vt:lpstr>Johannes Schwalb</vt:lpstr>
      <vt:lpstr>Pius Hübl</vt:lpstr>
      <vt:lpstr>PowerPoint-Präsentation</vt:lpstr>
      <vt:lpstr>„Mit JEE 6 und JPA 2 brauchst du keine DTOs und kein Mapping mehr. Du gibst die Entities direkt raus. “</vt:lpstr>
      <vt:lpstr>„Mit JEE 6 und JPA 2 brauchst du keine DTOs und kein Mapping mehr. Du gibst die Entities direkt raus. “</vt:lpstr>
      <vt:lpstr>Sinnvolle Anwendungsfälle für Mapping</vt:lpstr>
      <vt:lpstr>Auch wenn es lästig ist…</vt:lpstr>
      <vt:lpstr>Auch wenn es lästig ist…</vt:lpstr>
      <vt:lpstr>Beispiel: Mapping Book</vt:lpstr>
      <vt:lpstr>Beispiel: Mapping Book  &lt;-&gt;  BookDTO</vt:lpstr>
      <vt:lpstr>Gruppe 1 (Simple Mapping)</vt:lpstr>
      <vt:lpstr>Gruppe 2 (Enum Mapping)</vt:lpstr>
      <vt:lpstr>Gruppe 3 (Simple Type Conversion z.B.: Date &lt;-&gt; Calendar)</vt:lpstr>
      <vt:lpstr>Gruppe 4 (Deep Object Mapping)</vt:lpstr>
      <vt:lpstr>Gruppe 5 (Collection Mapping)</vt:lpstr>
      <vt:lpstr>Gruppe 6 (Inheritance Mapping)</vt:lpstr>
      <vt:lpstr>Gruppe 6 (Inheritance Mapping)</vt:lpstr>
      <vt:lpstr>Gruppe 6 (Inheritance Mapping)</vt:lpstr>
      <vt:lpstr>Gruppe 6 (Inheritance Mapping)</vt:lpstr>
      <vt:lpstr>Gruppe 7 (Inheritance Enum Mapping)</vt:lpstr>
      <vt:lpstr>Übersicht Frameworks</vt:lpstr>
      <vt:lpstr>PowerPoint-Präsentation</vt:lpstr>
      <vt:lpstr>Der Code</vt:lpstr>
      <vt:lpstr>Der Code</vt:lpstr>
      <vt:lpstr>Steckbrief: Handwritten Mapping</vt:lpstr>
      <vt:lpstr>PowerPoint-Präsentation</vt:lpstr>
      <vt:lpstr>Steckbrief: Dozer</vt:lpstr>
      <vt:lpstr>Der Code (Java)</vt:lpstr>
      <vt:lpstr>Der Code (XML)</vt:lpstr>
      <vt:lpstr>Best Practices</vt:lpstr>
      <vt:lpstr>PowerPoint-Präsentation</vt:lpstr>
      <vt:lpstr>Steckbrief: ModelMapper</vt:lpstr>
      <vt:lpstr>Der Code</vt:lpstr>
      <vt:lpstr>Best Practices</vt:lpstr>
      <vt:lpstr>PowerPoint-Präsentation</vt:lpstr>
      <vt:lpstr>Steckbrief: Orika</vt:lpstr>
      <vt:lpstr>Der Code</vt:lpstr>
      <vt:lpstr>Der Code</vt:lpstr>
      <vt:lpstr>Best Practices</vt:lpstr>
      <vt:lpstr>PowerPoint-Präsent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Mapping Performance - Ergebnis der Evaluation</vt:lpstr>
      <vt:lpstr>PowerPoint-Präsentation</vt:lpstr>
      <vt:lpstr>PowerPoint-Präsentation</vt:lpstr>
      <vt:lpstr>PowerPoint-Präsentation</vt:lpstr>
    </vt:vector>
  </TitlesOfParts>
  <Company>Senacor Technologie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[Untertitel der Präsentation]</dc:subject>
  <dc:creator>Biedermann, Kathleen</dc:creator>
  <dc:description>Optimiert für MS PowerPoint 2010/2011.</dc:description>
  <cp:lastModifiedBy>Pius Hübl</cp:lastModifiedBy>
  <cp:revision>128</cp:revision>
  <dcterms:created xsi:type="dcterms:W3CDTF">2013-03-01T11:14:45Z</dcterms:created>
  <dcterms:modified xsi:type="dcterms:W3CDTF">2014-08-27T21:04:43Z</dcterms:modified>
</cp:coreProperties>
</file>